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heme/theme22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notesSlides/notesSlide1.xml" ContentType="application/vnd.openxmlformats-officedocument.presentationml.notesSlide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2.xml" ContentType="application/vnd.openxmlformats-officedocument.presentationml.notesSlid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notesSlides/notesSlide3.xml" ContentType="application/vnd.openxmlformats-officedocument.presentationml.notesSlide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notesSlides/notesSlide4.xml" ContentType="application/vnd.openxmlformats-officedocument.presentationml.notesSlide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notesSlides/notesSlide5.xml" ContentType="application/vnd.openxmlformats-officedocument.presentationml.notesSlide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6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39"/>
  </p:notesMasterIdLst>
  <p:sldIdLst>
    <p:sldId id="2048" r:id="rId22"/>
    <p:sldId id="2049" r:id="rId23"/>
    <p:sldId id="1997" r:id="rId24"/>
    <p:sldId id="2015" r:id="rId25"/>
    <p:sldId id="2050" r:id="rId26"/>
    <p:sldId id="2051" r:id="rId27"/>
    <p:sldId id="2052" r:id="rId28"/>
    <p:sldId id="2053" r:id="rId29"/>
    <p:sldId id="2054" r:id="rId30"/>
    <p:sldId id="2055" r:id="rId31"/>
    <p:sldId id="2056" r:id="rId32"/>
    <p:sldId id="2057" r:id="rId33"/>
    <p:sldId id="2058" r:id="rId34"/>
    <p:sldId id="2059" r:id="rId35"/>
    <p:sldId id="2060" r:id="rId36"/>
    <p:sldId id="2061" r:id="rId37"/>
    <p:sldId id="2062" r:id="rId38"/>
  </p:sldIdLst>
  <p:sldSz cx="10287000" cy="6858000" type="35mm"/>
  <p:notesSz cx="7026275" cy="9312275"/>
  <p:custDataLst>
    <p:tags r:id="rId40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1956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3" userDrawn="1">
          <p15:clr>
            <a:srgbClr val="A4A3A4"/>
          </p15:clr>
        </p15:guide>
        <p15:guide id="2" pos="221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277"/>
    <a:srgbClr val="FFE7E7"/>
    <a:srgbClr val="EBECED"/>
    <a:srgbClr val="000000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156" autoAdjust="0"/>
    <p:restoredTop sz="92300" autoAdjust="0"/>
  </p:normalViewPr>
  <p:slideViewPr>
    <p:cSldViewPr snapToGrid="0" showGuides="1">
      <p:cViewPr varScale="1">
        <p:scale>
          <a:sx n="72" d="100"/>
          <a:sy n="72" d="100"/>
        </p:scale>
        <p:origin x="-1476" y="-84"/>
      </p:cViewPr>
      <p:guideLst>
        <p:guide orient="horz" pos="73"/>
        <p:guide orient="horz" pos="913"/>
        <p:guide orient="horz" pos="1956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772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33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17.emf"/></Relationships>
</file>

<file path=ppt/drawings/_rels/vmlDrawing3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17.emf"/></Relationships>
</file>

<file path=ppt/drawings/_rels/vmlDrawing3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17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1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17.e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44719" cy="465614"/>
          </a:xfrm>
          <a:prstGeom prst="rect">
            <a:avLst/>
          </a:prstGeom>
        </p:spPr>
        <p:txBody>
          <a:bodyPr vert="horz" lIns="93319" tIns="46660" rIns="93319" bIns="4666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9930" y="1"/>
            <a:ext cx="3044719" cy="465614"/>
          </a:xfrm>
          <a:prstGeom prst="rect">
            <a:avLst/>
          </a:prstGeom>
        </p:spPr>
        <p:txBody>
          <a:bodyPr vert="horz" lIns="93319" tIns="46660" rIns="93319" bIns="46660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5350" y="698500"/>
            <a:ext cx="523557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9" tIns="46660" rIns="93319" bIns="46660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2628" y="4423331"/>
            <a:ext cx="5621020" cy="4190524"/>
          </a:xfrm>
          <a:prstGeom prst="rect">
            <a:avLst/>
          </a:prstGeom>
        </p:spPr>
        <p:txBody>
          <a:bodyPr vert="horz" lIns="93319" tIns="46660" rIns="93319" bIns="4666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45045"/>
            <a:ext cx="3044719" cy="465614"/>
          </a:xfrm>
          <a:prstGeom prst="rect">
            <a:avLst/>
          </a:prstGeom>
        </p:spPr>
        <p:txBody>
          <a:bodyPr vert="horz" lIns="93319" tIns="46660" rIns="93319" bIns="4666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9930" y="8845045"/>
            <a:ext cx="3044719" cy="465614"/>
          </a:xfrm>
          <a:prstGeom prst="rect">
            <a:avLst/>
          </a:prstGeom>
        </p:spPr>
        <p:txBody>
          <a:bodyPr vert="horz" lIns="93319" tIns="46660" rIns="93319" bIns="46660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1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53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2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5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5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7715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6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147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7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325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6558595" indent="-36117945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406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88129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21948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762597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BF9286FC-6B9A-476C-9EB4-32DCB58CFCF1}" type="slidenum">
              <a:rPr lang="en-US" sz="100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8</a:t>
            </a:fld>
            <a:endParaRPr lang="en-US" sz="10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7523" name="Rectangle 7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33400" y="719138"/>
            <a:ext cx="5395913" cy="3597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8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386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3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8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2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2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0" y="1"/>
            <a:ext cx="10287000" cy="6858000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7242" y="4756453"/>
            <a:ext cx="5665595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77242" y="1706294"/>
            <a:ext cx="753326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77242" y="3385262"/>
            <a:ext cx="7533266" cy="246221"/>
          </a:xfrm>
        </p:spPr>
        <p:txBody>
          <a:bodyPr wrap="square">
            <a:spAutoFit/>
          </a:bodyPr>
          <a:lstStyle>
            <a:lvl1pPr algn="l"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ltGray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3"/>
          <p:cNvSpPr>
            <a:spLocks noChangeArrowheads="1"/>
          </p:cNvSpPr>
          <p:nvPr userDrawn="1"/>
        </p:nvSpPr>
        <p:spPr bwMode="gray">
          <a:xfrm>
            <a:off x="477242" y="6443655"/>
            <a:ext cx="5054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antander Holdings USA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17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700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1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7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6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49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8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9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8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1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0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4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image" Target="../media/image2.jpeg"/><Relationship Id="rId3" Type="http://schemas.openxmlformats.org/officeDocument/2006/relationships/theme" Target="../theme/theme21.xml"/><Relationship Id="rId21" Type="http://schemas.openxmlformats.org/officeDocument/2006/relationships/tags" Target="../tags/tag420.xml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87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1" Type="http://schemas.openxmlformats.org/officeDocument/2006/relationships/slideLayout" Target="../slideLayouts/slideLayout186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vmlDrawing" Target="../drawings/vmlDrawing19.v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33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jpeg"/><Relationship Id="rId5" Type="http://schemas.openxmlformats.org/officeDocument/2006/relationships/theme" Target="../theme/theme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2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338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4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75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80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81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85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88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0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08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2" descr="san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ltGray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ltGray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7305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73053" y="619608"/>
            <a:ext cx="93920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3" y="2022053"/>
            <a:ext cx="489475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/>
          <p:nvPr userDrawn="1"/>
        </p:nvGrpSpPr>
        <p:grpSpPr bwMode="auto">
          <a:xfrm>
            <a:off x="373053" y="5971743"/>
            <a:ext cx="9702557" cy="714433"/>
            <a:chOff x="182232" y="5971743"/>
            <a:chExt cx="9702557" cy="714433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182232" y="5971743"/>
              <a:ext cx="970255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182232" y="6532288"/>
              <a:ext cx="729724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785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71" name="Slide Number"/>
          <p:cNvSpPr txBox="1">
            <a:spLocks/>
          </p:cNvSpPr>
          <p:nvPr userDrawn="1"/>
        </p:nvSpPr>
        <p:spPr bwMode="auto">
          <a:xfrm>
            <a:off x="9839968" y="225413"/>
            <a:ext cx="235642" cy="2308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500" b="1" smtClean="0">
                <a:solidFill>
                  <a:srgbClr val="FF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grpSp>
        <p:nvGrpSpPr>
          <p:cNvPr id="72" name="LegendBoxes" hidden="1"/>
          <p:cNvGrpSpPr>
            <a:grpSpLocks/>
          </p:cNvGrpSpPr>
          <p:nvPr userDrawn="1"/>
        </p:nvGrpSpPr>
        <p:grpSpPr bwMode="auto">
          <a:xfrm>
            <a:off x="9001539" y="368570"/>
            <a:ext cx="763588" cy="996951"/>
            <a:chOff x="4936" y="176"/>
            <a:chExt cx="481" cy="628"/>
          </a:xfrm>
        </p:grpSpPr>
        <p:sp>
          <p:nvSpPr>
            <p:cNvPr id="7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1" name="LegendLines" hidden="1"/>
          <p:cNvGrpSpPr>
            <a:grpSpLocks/>
          </p:cNvGrpSpPr>
          <p:nvPr userDrawn="1"/>
        </p:nvGrpSpPr>
        <p:grpSpPr bwMode="auto">
          <a:xfrm>
            <a:off x="8693564" y="368570"/>
            <a:ext cx="1071563" cy="730251"/>
            <a:chOff x="4750" y="176"/>
            <a:chExt cx="675" cy="460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8" name="McKSticker" hidden="1"/>
          <p:cNvGrpSpPr/>
          <p:nvPr userDrawn="1"/>
        </p:nvGrpSpPr>
        <p:grpSpPr bwMode="auto">
          <a:xfrm>
            <a:off x="8698232" y="368570"/>
            <a:ext cx="1066895" cy="212366"/>
            <a:chOff x="7673880" y="285750"/>
            <a:chExt cx="1066895" cy="212366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LegendMoons" hidden="1"/>
          <p:cNvGrpSpPr/>
          <p:nvPr userDrawn="1"/>
        </p:nvGrpSpPr>
        <p:grpSpPr bwMode="auto">
          <a:xfrm>
            <a:off x="8934697" y="368570"/>
            <a:ext cx="830430" cy="1306516"/>
            <a:chOff x="6655594" y="273840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7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8243595" y="2029270"/>
            <a:ext cx="254000" cy="254000"/>
            <a:chOff x="1600" y="1600"/>
            <a:chExt cx="160" cy="160"/>
          </a:xfrm>
        </p:grpSpPr>
        <p:sp>
          <p:nvSpPr>
            <p:cNvPr id="5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5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03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78693" rtl="0" eaLnBrk="1" fontAlgn="base" hangingPunct="1">
        <a:spcBef>
          <a:spcPct val="0"/>
        </a:spcBef>
        <a:spcAft>
          <a:spcPct val="0"/>
        </a:spcAft>
        <a:tabLst>
          <a:tab pos="29499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99757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99516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99274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99033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11704" indent="-209968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99757" indent="-28632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71551" indent="-170056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75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516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927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9033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791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8548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830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806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060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17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6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9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60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42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28.xml"/><Relationship Id="rId4" Type="http://schemas.openxmlformats.org/officeDocument/2006/relationships/tags" Target="../tags/tag4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1.vml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emf"/><Relationship Id="rId2" Type="http://schemas.openxmlformats.org/officeDocument/2006/relationships/tags" Target="../tags/tag552.xml"/><Relationship Id="rId1" Type="http://schemas.openxmlformats.org/officeDocument/2006/relationships/vmlDrawing" Target="../drawings/vmlDrawing32.vml"/><Relationship Id="rId6" Type="http://schemas.openxmlformats.org/officeDocument/2006/relationships/package" Target="../embeddings/Microsoft_Excel_Worksheet3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emf"/><Relationship Id="rId2" Type="http://schemas.openxmlformats.org/officeDocument/2006/relationships/tags" Target="../tags/tag553.xml"/><Relationship Id="rId1" Type="http://schemas.openxmlformats.org/officeDocument/2006/relationships/vmlDrawing" Target="../drawings/vmlDrawing33.vml"/><Relationship Id="rId6" Type="http://schemas.openxmlformats.org/officeDocument/2006/relationships/package" Target="../embeddings/Microsoft_Excel_Worksheet4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emf"/><Relationship Id="rId2" Type="http://schemas.openxmlformats.org/officeDocument/2006/relationships/tags" Target="../tags/tag554.xml"/><Relationship Id="rId1" Type="http://schemas.openxmlformats.org/officeDocument/2006/relationships/vmlDrawing" Target="../drawings/vmlDrawing34.vml"/><Relationship Id="rId6" Type="http://schemas.openxmlformats.org/officeDocument/2006/relationships/package" Target="../embeddings/Microsoft_Excel_Worksheet5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emf"/><Relationship Id="rId2" Type="http://schemas.openxmlformats.org/officeDocument/2006/relationships/tags" Target="../tags/tag555.xml"/><Relationship Id="rId1" Type="http://schemas.openxmlformats.org/officeDocument/2006/relationships/vmlDrawing" Target="../drawings/vmlDrawing35.vml"/><Relationship Id="rId6" Type="http://schemas.openxmlformats.org/officeDocument/2006/relationships/package" Target="../embeddings/Microsoft_Excel_Worksheet6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emf"/><Relationship Id="rId2" Type="http://schemas.openxmlformats.org/officeDocument/2006/relationships/tags" Target="../tags/tag556.xml"/><Relationship Id="rId1" Type="http://schemas.openxmlformats.org/officeDocument/2006/relationships/vmlDrawing" Target="../drawings/vmlDrawing37.vml"/><Relationship Id="rId6" Type="http://schemas.openxmlformats.org/officeDocument/2006/relationships/package" Target="../embeddings/Microsoft_Excel_Worksheet8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emf"/><Relationship Id="rId2" Type="http://schemas.openxmlformats.org/officeDocument/2006/relationships/tags" Target="../tags/tag557.xml"/><Relationship Id="rId1" Type="http://schemas.openxmlformats.org/officeDocument/2006/relationships/vmlDrawing" Target="../drawings/vmlDrawing38.vml"/><Relationship Id="rId6" Type="http://schemas.openxmlformats.org/officeDocument/2006/relationships/package" Target="../embeddings/Microsoft_Excel_Worksheet9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43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23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32.xml"/><Relationship Id="rId4" Type="http://schemas.openxmlformats.org/officeDocument/2006/relationships/tags" Target="../tags/tag4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tags" Target="../tags/tag444.xml"/><Relationship Id="rId18" Type="http://schemas.openxmlformats.org/officeDocument/2006/relationships/tags" Target="../tags/tag449.xml"/><Relationship Id="rId26" Type="http://schemas.openxmlformats.org/officeDocument/2006/relationships/tags" Target="../tags/tag457.xml"/><Relationship Id="rId39" Type="http://schemas.openxmlformats.org/officeDocument/2006/relationships/image" Target="../media/image17.emf"/><Relationship Id="rId3" Type="http://schemas.openxmlformats.org/officeDocument/2006/relationships/tags" Target="../tags/tag434.xml"/><Relationship Id="rId21" Type="http://schemas.openxmlformats.org/officeDocument/2006/relationships/tags" Target="../tags/tag452.xml"/><Relationship Id="rId34" Type="http://schemas.openxmlformats.org/officeDocument/2006/relationships/tags" Target="../tags/tag465.xml"/><Relationship Id="rId7" Type="http://schemas.openxmlformats.org/officeDocument/2006/relationships/tags" Target="../tags/tag438.xml"/><Relationship Id="rId12" Type="http://schemas.openxmlformats.org/officeDocument/2006/relationships/tags" Target="../tags/tag443.xml"/><Relationship Id="rId17" Type="http://schemas.openxmlformats.org/officeDocument/2006/relationships/tags" Target="../tags/tag448.xml"/><Relationship Id="rId25" Type="http://schemas.openxmlformats.org/officeDocument/2006/relationships/tags" Target="../tags/tag456.xml"/><Relationship Id="rId33" Type="http://schemas.openxmlformats.org/officeDocument/2006/relationships/tags" Target="../tags/tag464.xml"/><Relationship Id="rId38" Type="http://schemas.openxmlformats.org/officeDocument/2006/relationships/oleObject" Target="../embeddings/oleObject24.bin"/><Relationship Id="rId2" Type="http://schemas.openxmlformats.org/officeDocument/2006/relationships/tags" Target="../tags/tag433.xml"/><Relationship Id="rId16" Type="http://schemas.openxmlformats.org/officeDocument/2006/relationships/tags" Target="../tags/tag447.xml"/><Relationship Id="rId20" Type="http://schemas.openxmlformats.org/officeDocument/2006/relationships/tags" Target="../tags/tag451.xml"/><Relationship Id="rId29" Type="http://schemas.openxmlformats.org/officeDocument/2006/relationships/tags" Target="../tags/tag460.xml"/><Relationship Id="rId41" Type="http://schemas.openxmlformats.org/officeDocument/2006/relationships/image" Target="../media/image18.emf"/><Relationship Id="rId1" Type="http://schemas.openxmlformats.org/officeDocument/2006/relationships/vmlDrawing" Target="../drawings/vmlDrawing24.vml"/><Relationship Id="rId6" Type="http://schemas.openxmlformats.org/officeDocument/2006/relationships/tags" Target="../tags/tag437.xml"/><Relationship Id="rId11" Type="http://schemas.openxmlformats.org/officeDocument/2006/relationships/tags" Target="../tags/tag442.xml"/><Relationship Id="rId24" Type="http://schemas.openxmlformats.org/officeDocument/2006/relationships/tags" Target="../tags/tag455.xml"/><Relationship Id="rId32" Type="http://schemas.openxmlformats.org/officeDocument/2006/relationships/tags" Target="../tags/tag463.xml"/><Relationship Id="rId37" Type="http://schemas.openxmlformats.org/officeDocument/2006/relationships/slideLayout" Target="../slideLayouts/slideLayout2.xml"/><Relationship Id="rId40" Type="http://schemas.openxmlformats.org/officeDocument/2006/relationships/oleObject" Target="../embeddings/oleObject25.bin"/><Relationship Id="rId5" Type="http://schemas.openxmlformats.org/officeDocument/2006/relationships/tags" Target="../tags/tag436.xml"/><Relationship Id="rId15" Type="http://schemas.openxmlformats.org/officeDocument/2006/relationships/tags" Target="../tags/tag446.xml"/><Relationship Id="rId23" Type="http://schemas.openxmlformats.org/officeDocument/2006/relationships/tags" Target="../tags/tag454.xml"/><Relationship Id="rId28" Type="http://schemas.openxmlformats.org/officeDocument/2006/relationships/tags" Target="../tags/tag459.xml"/><Relationship Id="rId36" Type="http://schemas.openxmlformats.org/officeDocument/2006/relationships/tags" Target="../tags/tag467.xml"/><Relationship Id="rId10" Type="http://schemas.openxmlformats.org/officeDocument/2006/relationships/tags" Target="../tags/tag441.xml"/><Relationship Id="rId19" Type="http://schemas.openxmlformats.org/officeDocument/2006/relationships/tags" Target="../tags/tag450.xml"/><Relationship Id="rId31" Type="http://schemas.openxmlformats.org/officeDocument/2006/relationships/tags" Target="../tags/tag462.xml"/><Relationship Id="rId4" Type="http://schemas.openxmlformats.org/officeDocument/2006/relationships/tags" Target="../tags/tag435.xml"/><Relationship Id="rId9" Type="http://schemas.openxmlformats.org/officeDocument/2006/relationships/tags" Target="../tags/tag440.xml"/><Relationship Id="rId14" Type="http://schemas.openxmlformats.org/officeDocument/2006/relationships/tags" Target="../tags/tag445.xml"/><Relationship Id="rId22" Type="http://schemas.openxmlformats.org/officeDocument/2006/relationships/tags" Target="../tags/tag453.xml"/><Relationship Id="rId27" Type="http://schemas.openxmlformats.org/officeDocument/2006/relationships/tags" Target="../tags/tag458.xml"/><Relationship Id="rId30" Type="http://schemas.openxmlformats.org/officeDocument/2006/relationships/tags" Target="../tags/tag461.xml"/><Relationship Id="rId35" Type="http://schemas.openxmlformats.org/officeDocument/2006/relationships/tags" Target="../tags/tag466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79.xml"/><Relationship Id="rId18" Type="http://schemas.openxmlformats.org/officeDocument/2006/relationships/tags" Target="../tags/tag484.xml"/><Relationship Id="rId26" Type="http://schemas.openxmlformats.org/officeDocument/2006/relationships/tags" Target="../tags/tag492.xml"/><Relationship Id="rId39" Type="http://schemas.openxmlformats.org/officeDocument/2006/relationships/tags" Target="../tags/tag505.xml"/><Relationship Id="rId21" Type="http://schemas.openxmlformats.org/officeDocument/2006/relationships/tags" Target="../tags/tag487.xml"/><Relationship Id="rId34" Type="http://schemas.openxmlformats.org/officeDocument/2006/relationships/tags" Target="../tags/tag500.xml"/><Relationship Id="rId42" Type="http://schemas.openxmlformats.org/officeDocument/2006/relationships/tags" Target="../tags/tag508.xml"/><Relationship Id="rId47" Type="http://schemas.openxmlformats.org/officeDocument/2006/relationships/tags" Target="../tags/tag513.xml"/><Relationship Id="rId50" Type="http://schemas.openxmlformats.org/officeDocument/2006/relationships/tags" Target="../tags/tag516.xml"/><Relationship Id="rId55" Type="http://schemas.openxmlformats.org/officeDocument/2006/relationships/tags" Target="../tags/tag521.xml"/><Relationship Id="rId63" Type="http://schemas.openxmlformats.org/officeDocument/2006/relationships/tags" Target="../tags/tag529.xml"/><Relationship Id="rId68" Type="http://schemas.openxmlformats.org/officeDocument/2006/relationships/tags" Target="../tags/tag534.xml"/><Relationship Id="rId7" Type="http://schemas.openxmlformats.org/officeDocument/2006/relationships/tags" Target="../tags/tag473.xml"/><Relationship Id="rId71" Type="http://schemas.openxmlformats.org/officeDocument/2006/relationships/image" Target="../media/image17.emf"/><Relationship Id="rId2" Type="http://schemas.openxmlformats.org/officeDocument/2006/relationships/tags" Target="../tags/tag468.xml"/><Relationship Id="rId16" Type="http://schemas.openxmlformats.org/officeDocument/2006/relationships/tags" Target="../tags/tag482.xml"/><Relationship Id="rId29" Type="http://schemas.openxmlformats.org/officeDocument/2006/relationships/tags" Target="../tags/tag495.xml"/><Relationship Id="rId11" Type="http://schemas.openxmlformats.org/officeDocument/2006/relationships/tags" Target="../tags/tag477.xml"/><Relationship Id="rId24" Type="http://schemas.openxmlformats.org/officeDocument/2006/relationships/tags" Target="../tags/tag490.xml"/><Relationship Id="rId32" Type="http://schemas.openxmlformats.org/officeDocument/2006/relationships/tags" Target="../tags/tag498.xml"/><Relationship Id="rId37" Type="http://schemas.openxmlformats.org/officeDocument/2006/relationships/tags" Target="../tags/tag503.xml"/><Relationship Id="rId40" Type="http://schemas.openxmlformats.org/officeDocument/2006/relationships/tags" Target="../tags/tag506.xml"/><Relationship Id="rId45" Type="http://schemas.openxmlformats.org/officeDocument/2006/relationships/tags" Target="../tags/tag511.xml"/><Relationship Id="rId53" Type="http://schemas.openxmlformats.org/officeDocument/2006/relationships/tags" Target="../tags/tag519.xml"/><Relationship Id="rId58" Type="http://schemas.openxmlformats.org/officeDocument/2006/relationships/tags" Target="../tags/tag524.xml"/><Relationship Id="rId66" Type="http://schemas.openxmlformats.org/officeDocument/2006/relationships/tags" Target="../tags/tag532.xml"/><Relationship Id="rId5" Type="http://schemas.openxmlformats.org/officeDocument/2006/relationships/tags" Target="../tags/tag471.xml"/><Relationship Id="rId15" Type="http://schemas.openxmlformats.org/officeDocument/2006/relationships/tags" Target="../tags/tag481.xml"/><Relationship Id="rId23" Type="http://schemas.openxmlformats.org/officeDocument/2006/relationships/tags" Target="../tags/tag489.xml"/><Relationship Id="rId28" Type="http://schemas.openxmlformats.org/officeDocument/2006/relationships/tags" Target="../tags/tag494.xml"/><Relationship Id="rId36" Type="http://schemas.openxmlformats.org/officeDocument/2006/relationships/tags" Target="../tags/tag502.xml"/><Relationship Id="rId49" Type="http://schemas.openxmlformats.org/officeDocument/2006/relationships/tags" Target="../tags/tag515.xml"/><Relationship Id="rId57" Type="http://schemas.openxmlformats.org/officeDocument/2006/relationships/tags" Target="../tags/tag523.xml"/><Relationship Id="rId61" Type="http://schemas.openxmlformats.org/officeDocument/2006/relationships/tags" Target="../tags/tag527.xml"/><Relationship Id="rId10" Type="http://schemas.openxmlformats.org/officeDocument/2006/relationships/tags" Target="../tags/tag476.xml"/><Relationship Id="rId19" Type="http://schemas.openxmlformats.org/officeDocument/2006/relationships/tags" Target="../tags/tag485.xml"/><Relationship Id="rId31" Type="http://schemas.openxmlformats.org/officeDocument/2006/relationships/tags" Target="../tags/tag497.xml"/><Relationship Id="rId44" Type="http://schemas.openxmlformats.org/officeDocument/2006/relationships/tags" Target="../tags/tag510.xml"/><Relationship Id="rId52" Type="http://schemas.openxmlformats.org/officeDocument/2006/relationships/tags" Target="../tags/tag518.xml"/><Relationship Id="rId60" Type="http://schemas.openxmlformats.org/officeDocument/2006/relationships/tags" Target="../tags/tag526.xml"/><Relationship Id="rId65" Type="http://schemas.openxmlformats.org/officeDocument/2006/relationships/tags" Target="../tags/tag531.xml"/><Relationship Id="rId73" Type="http://schemas.openxmlformats.org/officeDocument/2006/relationships/image" Target="../media/image19.emf"/><Relationship Id="rId4" Type="http://schemas.openxmlformats.org/officeDocument/2006/relationships/tags" Target="../tags/tag470.xml"/><Relationship Id="rId9" Type="http://schemas.openxmlformats.org/officeDocument/2006/relationships/tags" Target="../tags/tag475.xml"/><Relationship Id="rId14" Type="http://schemas.openxmlformats.org/officeDocument/2006/relationships/tags" Target="../tags/tag480.xml"/><Relationship Id="rId22" Type="http://schemas.openxmlformats.org/officeDocument/2006/relationships/tags" Target="../tags/tag488.xml"/><Relationship Id="rId27" Type="http://schemas.openxmlformats.org/officeDocument/2006/relationships/tags" Target="../tags/tag493.xml"/><Relationship Id="rId30" Type="http://schemas.openxmlformats.org/officeDocument/2006/relationships/tags" Target="../tags/tag496.xml"/><Relationship Id="rId35" Type="http://schemas.openxmlformats.org/officeDocument/2006/relationships/tags" Target="../tags/tag501.xml"/><Relationship Id="rId43" Type="http://schemas.openxmlformats.org/officeDocument/2006/relationships/tags" Target="../tags/tag509.xml"/><Relationship Id="rId48" Type="http://schemas.openxmlformats.org/officeDocument/2006/relationships/tags" Target="../tags/tag514.xml"/><Relationship Id="rId56" Type="http://schemas.openxmlformats.org/officeDocument/2006/relationships/tags" Target="../tags/tag522.xml"/><Relationship Id="rId64" Type="http://schemas.openxmlformats.org/officeDocument/2006/relationships/tags" Target="../tags/tag530.xml"/><Relationship Id="rId69" Type="http://schemas.openxmlformats.org/officeDocument/2006/relationships/slideLayout" Target="../slideLayouts/slideLayout2.xml"/><Relationship Id="rId8" Type="http://schemas.openxmlformats.org/officeDocument/2006/relationships/tags" Target="../tags/tag474.xml"/><Relationship Id="rId51" Type="http://schemas.openxmlformats.org/officeDocument/2006/relationships/tags" Target="../tags/tag517.xml"/><Relationship Id="rId72" Type="http://schemas.openxmlformats.org/officeDocument/2006/relationships/oleObject" Target="../embeddings/oleObject27.bin"/><Relationship Id="rId3" Type="http://schemas.openxmlformats.org/officeDocument/2006/relationships/tags" Target="../tags/tag469.xml"/><Relationship Id="rId12" Type="http://schemas.openxmlformats.org/officeDocument/2006/relationships/tags" Target="../tags/tag478.xml"/><Relationship Id="rId17" Type="http://schemas.openxmlformats.org/officeDocument/2006/relationships/tags" Target="../tags/tag483.xml"/><Relationship Id="rId25" Type="http://schemas.openxmlformats.org/officeDocument/2006/relationships/tags" Target="../tags/tag491.xml"/><Relationship Id="rId33" Type="http://schemas.openxmlformats.org/officeDocument/2006/relationships/tags" Target="../tags/tag499.xml"/><Relationship Id="rId38" Type="http://schemas.openxmlformats.org/officeDocument/2006/relationships/tags" Target="../tags/tag504.xml"/><Relationship Id="rId46" Type="http://schemas.openxmlformats.org/officeDocument/2006/relationships/tags" Target="../tags/tag512.xml"/><Relationship Id="rId59" Type="http://schemas.openxmlformats.org/officeDocument/2006/relationships/tags" Target="../tags/tag525.xml"/><Relationship Id="rId67" Type="http://schemas.openxmlformats.org/officeDocument/2006/relationships/tags" Target="../tags/tag533.xml"/><Relationship Id="rId20" Type="http://schemas.openxmlformats.org/officeDocument/2006/relationships/tags" Target="../tags/tag486.xml"/><Relationship Id="rId41" Type="http://schemas.openxmlformats.org/officeDocument/2006/relationships/tags" Target="../tags/tag507.xml"/><Relationship Id="rId54" Type="http://schemas.openxmlformats.org/officeDocument/2006/relationships/tags" Target="../tags/tag520.xml"/><Relationship Id="rId62" Type="http://schemas.openxmlformats.org/officeDocument/2006/relationships/tags" Target="../tags/tag528.xml"/><Relationship Id="rId70" Type="http://schemas.openxmlformats.org/officeDocument/2006/relationships/oleObject" Target="../embeddings/oleObject26.bin"/><Relationship Id="rId1" Type="http://schemas.openxmlformats.org/officeDocument/2006/relationships/vmlDrawing" Target="../drawings/vmlDrawing25.vml"/><Relationship Id="rId6" Type="http://schemas.openxmlformats.org/officeDocument/2006/relationships/tags" Target="../tags/tag47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3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535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38.xml"/><Relationship Id="rId4" Type="http://schemas.openxmlformats.org/officeDocument/2006/relationships/tags" Target="../tags/tag5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540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539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42.xml"/><Relationship Id="rId4" Type="http://schemas.openxmlformats.org/officeDocument/2006/relationships/tags" Target="../tags/tag54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544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28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46.xml"/><Relationship Id="rId4" Type="http://schemas.openxmlformats.org/officeDocument/2006/relationships/tags" Target="../tags/tag54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54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50.xml"/><Relationship Id="rId4" Type="http://schemas.openxmlformats.org/officeDocument/2006/relationships/tags" Target="../tags/tag5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emf"/><Relationship Id="rId2" Type="http://schemas.openxmlformats.org/officeDocument/2006/relationships/tags" Target="../tags/tag551.xml"/><Relationship Id="rId1" Type="http://schemas.openxmlformats.org/officeDocument/2006/relationships/vmlDrawing" Target="../drawings/vmlDrawing30.v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825156"/>
              </p:ext>
            </p:extLst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79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8" y="5480507"/>
            <a:ext cx="10301476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CART </a:t>
            </a:r>
            <a:r>
              <a:rPr lang="en-US" dirty="0" smtClean="0"/>
              <a:t>Resource Needs </a:t>
            </a:r>
            <a:r>
              <a:rPr lang="en-US" dirty="0" smtClean="0"/>
              <a:t>Dashboard</a:t>
            </a:r>
            <a:endParaRPr lang="en-US" dirty="0"/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52" name="Rectangle 10"/>
          <p:cNvSpPr txBox="1">
            <a:spLocks/>
          </p:cNvSpPr>
          <p:nvPr/>
        </p:nvSpPr>
        <p:spPr>
          <a:xfrm>
            <a:off x="206817" y="835631"/>
            <a:ext cx="8700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s-ES"/>
            </a:defPPr>
            <a:lvl1pPr lvl="0" indent="0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1000" b="1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sz="800" dirty="0" smtClean="0"/>
              <a:t>Workstream</a:t>
            </a:r>
            <a:endParaRPr lang="en-US" sz="800" dirty="0"/>
          </a:p>
        </p:txBody>
      </p:sp>
      <p:cxnSp>
        <p:nvCxnSpPr>
          <p:cNvPr id="40" name="Straight Connector 39"/>
          <p:cNvCxnSpPr/>
          <p:nvPr/>
        </p:nvCxnSpPr>
        <p:spPr bwMode="auto">
          <a:xfrm>
            <a:off x="206817" y="988080"/>
            <a:ext cx="64008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10"/>
          <p:cNvSpPr txBox="1"/>
          <p:nvPr/>
        </p:nvSpPr>
        <p:spPr>
          <a:xfrm>
            <a:off x="206817" y="1205237"/>
            <a:ext cx="8700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CCAR</a:t>
            </a:r>
          </a:p>
        </p:txBody>
      </p:sp>
      <p:sp>
        <p:nvSpPr>
          <p:cNvPr id="56" name="Rectangle 10"/>
          <p:cNvSpPr txBox="1"/>
          <p:nvPr/>
        </p:nvSpPr>
        <p:spPr>
          <a:xfrm>
            <a:off x="206817" y="1795879"/>
            <a:ext cx="8700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IHC</a:t>
            </a:r>
          </a:p>
        </p:txBody>
      </p:sp>
      <p:sp>
        <p:nvSpPr>
          <p:cNvPr id="57" name="Rectangle 10"/>
          <p:cNvSpPr txBox="1"/>
          <p:nvPr/>
        </p:nvSpPr>
        <p:spPr>
          <a:xfrm>
            <a:off x="206817" y="2314123"/>
            <a:ext cx="8700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ELS</a:t>
            </a:r>
          </a:p>
        </p:txBody>
      </p:sp>
      <p:sp>
        <p:nvSpPr>
          <p:cNvPr id="58" name="Rectangle 10"/>
          <p:cNvSpPr txBox="1"/>
          <p:nvPr/>
        </p:nvSpPr>
        <p:spPr>
          <a:xfrm>
            <a:off x="206817" y="2675996"/>
            <a:ext cx="87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Risk Transformation</a:t>
            </a:r>
          </a:p>
        </p:txBody>
      </p:sp>
      <p:sp>
        <p:nvSpPr>
          <p:cNvPr id="59" name="Rectangle 10"/>
          <p:cNvSpPr txBox="1"/>
          <p:nvPr/>
        </p:nvSpPr>
        <p:spPr>
          <a:xfrm>
            <a:off x="206817" y="3282682"/>
            <a:ext cx="87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Model </a:t>
            </a:r>
            <a:r>
              <a:rPr lang="en-US" sz="800" b="1" dirty="0" smtClean="0"/>
              <a:t>Development</a:t>
            </a:r>
            <a:endParaRPr lang="en-US" sz="800" b="1" dirty="0"/>
          </a:p>
        </p:txBody>
      </p:sp>
      <p:sp>
        <p:nvSpPr>
          <p:cNvPr id="60" name="Rectangle 10"/>
          <p:cNvSpPr txBox="1"/>
          <p:nvPr/>
        </p:nvSpPr>
        <p:spPr>
          <a:xfrm>
            <a:off x="206817" y="4559117"/>
            <a:ext cx="6400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Operational Risk</a:t>
            </a:r>
          </a:p>
        </p:txBody>
      </p:sp>
      <p:sp>
        <p:nvSpPr>
          <p:cNvPr id="62" name="Rectangle 10"/>
          <p:cNvSpPr txBox="1"/>
          <p:nvPr/>
        </p:nvSpPr>
        <p:spPr>
          <a:xfrm>
            <a:off x="206817" y="5095550"/>
            <a:ext cx="87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Finance Transformation</a:t>
            </a:r>
          </a:p>
        </p:txBody>
      </p:sp>
      <p:sp>
        <p:nvSpPr>
          <p:cNvPr id="63" name="Rectangle 10"/>
          <p:cNvSpPr txBox="1"/>
          <p:nvPr/>
        </p:nvSpPr>
        <p:spPr>
          <a:xfrm>
            <a:off x="206817" y="5827044"/>
            <a:ext cx="8700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Data &amp; IT</a:t>
            </a:r>
          </a:p>
        </p:txBody>
      </p:sp>
      <p:sp>
        <p:nvSpPr>
          <p:cNvPr id="61" name="Rectangle 10"/>
          <p:cNvSpPr txBox="1"/>
          <p:nvPr/>
        </p:nvSpPr>
        <p:spPr>
          <a:xfrm>
            <a:off x="206817" y="3833619"/>
            <a:ext cx="87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800" b="1" dirty="0"/>
              <a:t>Model Risk Management</a:t>
            </a: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392022"/>
              </p:ext>
            </p:extLst>
          </p:nvPr>
        </p:nvGraphicFramePr>
        <p:xfrm>
          <a:off x="1752773" y="775384"/>
          <a:ext cx="8120096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321731"/>
                <a:gridCol w="1338470"/>
                <a:gridCol w="1364974"/>
                <a:gridCol w="1378226"/>
                <a:gridCol w="1325217"/>
                <a:gridCol w="1391478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 (Aug)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267676"/>
              </p:ext>
            </p:extLst>
          </p:nvPr>
        </p:nvGraphicFramePr>
        <p:xfrm>
          <a:off x="1714499" y="1076740"/>
          <a:ext cx="8171622" cy="5720795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361937"/>
                <a:gridCol w="1361937"/>
                <a:gridCol w="1361937"/>
                <a:gridCol w="1361937"/>
                <a:gridCol w="1361937"/>
                <a:gridCol w="1361937"/>
              </a:tblGrid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9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8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8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6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8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1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1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0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337697">
                <a:tc gridSpan="6"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Included in Finance Transformation</a:t>
                      </a:r>
                      <a:endParaRPr lang="en-US" sz="1000" b="1" dirty="0"/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3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1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9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43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6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2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2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7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1.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9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4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46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55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3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2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4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4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35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2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9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98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1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2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3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38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6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4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58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6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6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62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59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4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7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9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199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20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205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4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6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90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37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261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7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75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79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83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91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195</a:t>
                      </a:r>
                      <a:endParaRPr lang="en-US" sz="900" b="0" dirty="0"/>
                    </a:p>
                  </a:txBody>
                  <a:tcPr marT="0" marB="0" anchor="ctr"/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1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1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4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7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2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rgbClr val="FCF600"/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3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9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41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48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4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56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280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6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8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83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7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98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/>
                        <a:t>613</a:t>
                      </a:r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756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82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867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21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64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92671" y="1101245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sp>
        <p:nvSpPr>
          <p:cNvPr id="65" name="TextBox 64"/>
          <p:cNvSpPr txBox="1"/>
          <p:nvPr/>
        </p:nvSpPr>
        <p:spPr>
          <a:xfrm>
            <a:off x="992671" y="1690961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992671" y="2598725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cxnSp>
        <p:nvCxnSpPr>
          <p:cNvPr id="68" name="Straight Connector 67"/>
          <p:cNvCxnSpPr/>
          <p:nvPr/>
        </p:nvCxnSpPr>
        <p:spPr bwMode="auto">
          <a:xfrm>
            <a:off x="213445" y="1697064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 bwMode="auto">
          <a:xfrm>
            <a:off x="213445" y="2273528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 bwMode="auto">
          <a:xfrm>
            <a:off x="213445" y="2604828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 bwMode="auto">
          <a:xfrm>
            <a:off x="213445" y="3221048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992671" y="3188437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cxnSp>
        <p:nvCxnSpPr>
          <p:cNvPr id="73" name="Straight Connector 72"/>
          <p:cNvCxnSpPr/>
          <p:nvPr/>
        </p:nvCxnSpPr>
        <p:spPr bwMode="auto">
          <a:xfrm>
            <a:off x="213445" y="3810760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999299" y="3778153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999299" y="4400997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cxnSp>
        <p:nvCxnSpPr>
          <p:cNvPr id="76" name="Straight Connector 75"/>
          <p:cNvCxnSpPr/>
          <p:nvPr/>
        </p:nvCxnSpPr>
        <p:spPr bwMode="auto">
          <a:xfrm>
            <a:off x="213445" y="4413728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 bwMode="auto">
          <a:xfrm>
            <a:off x="213445" y="4990046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999299" y="4990713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sp>
        <p:nvSpPr>
          <p:cNvPr id="80" name="TextBox 79"/>
          <p:cNvSpPr txBox="1"/>
          <p:nvPr/>
        </p:nvSpPr>
        <p:spPr>
          <a:xfrm>
            <a:off x="999299" y="5600305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  <p:cxnSp>
        <p:nvCxnSpPr>
          <p:cNvPr id="81" name="Straight Connector 80"/>
          <p:cNvCxnSpPr/>
          <p:nvPr/>
        </p:nvCxnSpPr>
        <p:spPr bwMode="auto">
          <a:xfrm>
            <a:off x="213445" y="5593014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 bwMode="auto">
          <a:xfrm>
            <a:off x="213445" y="6189354"/>
            <a:ext cx="14630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1" name="Rectangle 10"/>
          <p:cNvSpPr txBox="1"/>
          <p:nvPr/>
        </p:nvSpPr>
        <p:spPr>
          <a:xfrm>
            <a:off x="206817" y="6483020"/>
            <a:ext cx="8700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ct val="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1400" b="1" dirty="0" smtClean="0"/>
              <a:t>Totals</a:t>
            </a:r>
            <a:endParaRPr lang="en-US" sz="1400" b="1" dirty="0"/>
          </a:p>
        </p:txBody>
      </p:sp>
      <p:sp>
        <p:nvSpPr>
          <p:cNvPr id="92" name="TextBox 91"/>
          <p:cNvSpPr txBox="1"/>
          <p:nvPr/>
        </p:nvSpPr>
        <p:spPr>
          <a:xfrm>
            <a:off x="999299" y="6190021"/>
            <a:ext cx="65755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t"/>
            <a:r>
              <a:rPr lang="en-US" sz="800" b="1" dirty="0" smtClean="0"/>
              <a:t>FTE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FTC</a:t>
            </a:r>
          </a:p>
          <a:p>
            <a:pPr fontAlgn="t">
              <a:spcBef>
                <a:spcPts val="600"/>
              </a:spcBef>
            </a:pPr>
            <a:r>
              <a:rPr lang="en-US" sz="800" b="1" dirty="0" smtClean="0"/>
              <a:t>Sub-Total</a:t>
            </a:r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959406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 Development </a:t>
            </a:r>
            <a:r>
              <a:rPr lang="en-US" dirty="0"/>
              <a:t>resource plan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extLst/>
          </p:nvPr>
        </p:nvGraphicFramePr>
        <p:xfrm>
          <a:off x="104096" y="1028699"/>
          <a:ext cx="10063761" cy="32414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47" name="Worksheet" r:id="rId3" imgW="11064505" imgH="3558774" progId="Excel.Sheet.12">
                  <p:embed/>
                </p:oleObj>
              </mc:Choice>
              <mc:Fallback>
                <p:oleObj name="Worksheet" r:id="rId3" imgW="11064505" imgH="355877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4096" y="1028699"/>
                        <a:ext cx="10063761" cy="32414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9588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7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Model Risk </a:t>
            </a:r>
            <a:r>
              <a:rPr lang="en-US" dirty="0" smtClean="0"/>
              <a:t>Management</a:t>
            </a:r>
            <a:r>
              <a:rPr lang="en-US" dirty="0"/>
              <a:t> resource plan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2024506"/>
              </p:ext>
            </p:extLst>
          </p:nvPr>
        </p:nvGraphicFramePr>
        <p:xfrm>
          <a:off x="282575" y="1106378"/>
          <a:ext cx="9751806" cy="2657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73" name="Worksheet" r:id="rId6" imgW="11064505" imgH="3010134" progId="Excel.Sheet.12">
                  <p:embed/>
                </p:oleObj>
              </mc:Choice>
              <mc:Fallback>
                <p:oleObj name="Worksheet" r:id="rId6" imgW="11064505" imgH="301013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82575" y="1106378"/>
                        <a:ext cx="9751806" cy="2657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901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99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Operational Risk resource plan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194774" y="905984"/>
          <a:ext cx="9943525" cy="3715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997" name="Worksheet" r:id="rId6" imgW="11064505" imgH="4130099" progId="Excel.Sheet.12">
                  <p:embed/>
                </p:oleObj>
              </mc:Choice>
              <mc:Fallback>
                <p:oleObj name="Worksheet" r:id="rId6" imgW="11064505" imgH="413009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774" y="905984"/>
                        <a:ext cx="9943525" cy="3715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3977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02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Finance </a:t>
            </a:r>
            <a:r>
              <a:rPr lang="en-US" dirty="0" smtClean="0"/>
              <a:t>Transformation resource plan (1/2)</a:t>
            </a:r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530225" y="815975"/>
          <a:ext cx="9226550" cy="522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021" name="Worksheet" r:id="rId6" imgW="11064505" imgH="6263464" progId="Excel.Sheet.12">
                  <p:embed/>
                </p:oleObj>
              </mc:Choice>
              <mc:Fallback>
                <p:oleObj name="Worksheet" r:id="rId6" imgW="11064505" imgH="626346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0225" y="815975"/>
                        <a:ext cx="9226550" cy="522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3084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04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Finance Transformation resource plan </a:t>
            </a:r>
            <a:r>
              <a:rPr lang="en-US" dirty="0" smtClean="0"/>
              <a:t>(2/2</a:t>
            </a:r>
            <a:r>
              <a:rPr lang="en-US" dirty="0"/>
              <a:t>)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5477186"/>
              </p:ext>
            </p:extLst>
          </p:nvPr>
        </p:nvGraphicFramePr>
        <p:xfrm>
          <a:off x="192872" y="746617"/>
          <a:ext cx="9794719" cy="29997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045" name="Worksheet" r:id="rId6" imgW="11064505" imgH="3383104" progId="Excel.Sheet.12">
                  <p:embed/>
                </p:oleObj>
              </mc:Choice>
              <mc:Fallback>
                <p:oleObj name="Worksheet" r:id="rId6" imgW="11064505" imgH="338310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2872" y="746617"/>
                        <a:ext cx="9794719" cy="29997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25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&amp; IT resource plan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6528504"/>
              </p:ext>
            </p:extLst>
          </p:nvPr>
        </p:nvGraphicFramePr>
        <p:xfrm>
          <a:off x="282575" y="825904"/>
          <a:ext cx="9567683" cy="49978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4067" name="Worksheet" r:id="rId3" imgW="11064505" imgH="5776019" progId="Excel.Sheet.12">
                  <p:embed/>
                </p:oleObj>
              </mc:Choice>
              <mc:Fallback>
                <p:oleObj name="Worksheet" r:id="rId3" imgW="11064505" imgH="577601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575" y="825904"/>
                        <a:ext cx="9567683" cy="49978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57854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09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 smtClean="0"/>
              <a:t>CCAR</a:t>
            </a:r>
            <a:r>
              <a:rPr lang="en-US" dirty="0" smtClean="0"/>
              <a:t> resource plan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6855338"/>
              </p:ext>
            </p:extLst>
          </p:nvPr>
        </p:nvGraphicFramePr>
        <p:xfrm>
          <a:off x="220430" y="905892"/>
          <a:ext cx="9888149" cy="28582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093" name="Worksheet" r:id="rId6" imgW="11064505" imgH="3192663" progId="Excel.Sheet.12">
                  <p:embed/>
                </p:oleObj>
              </mc:Choice>
              <mc:Fallback>
                <p:oleObj name="Worksheet" r:id="rId6" imgW="11064505" imgH="319266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0430" y="905892"/>
                        <a:ext cx="9888149" cy="28582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5319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11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 smtClean="0"/>
              <a:t>IHC</a:t>
            </a:r>
            <a:r>
              <a:rPr lang="en-US" dirty="0"/>
              <a:t> resource plan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415131" y="1202646"/>
          <a:ext cx="9226550" cy="177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117" name="Worksheet" r:id="rId6" imgW="11064505" imgH="2118594" progId="Excel.Sheet.12">
                  <p:embed/>
                </p:oleObj>
              </mc:Choice>
              <mc:Fallback>
                <p:oleObj name="Worksheet" r:id="rId6" imgW="11064505" imgH="211859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15131" y="1202646"/>
                        <a:ext cx="9226550" cy="1771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3202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062029"/>
              </p:ext>
            </p:extLst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281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8" y="5480507"/>
            <a:ext cx="10301476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CART </a:t>
            </a:r>
            <a:r>
              <a:rPr lang="en-US" dirty="0" smtClean="0"/>
              <a:t>Resource Needs Dashboard-  By Role</a:t>
            </a:r>
            <a:endParaRPr lang="en-US" dirty="0"/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5657949"/>
              </p:ext>
            </p:extLst>
          </p:nvPr>
        </p:nvGraphicFramePr>
        <p:xfrm>
          <a:off x="424071" y="775384"/>
          <a:ext cx="9448798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881807"/>
                <a:gridCol w="980661"/>
                <a:gridCol w="1179444"/>
                <a:gridCol w="1364974"/>
                <a:gridCol w="1351721"/>
                <a:gridCol w="1351722"/>
                <a:gridCol w="1338469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Rol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 (Aug)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453265"/>
              </p:ext>
            </p:extLst>
          </p:nvPr>
        </p:nvGraphicFramePr>
        <p:xfrm>
          <a:off x="437322" y="1076741"/>
          <a:ext cx="9448803" cy="5695767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895061"/>
                <a:gridCol w="980660"/>
                <a:gridCol w="1173766"/>
                <a:gridCol w="1349829"/>
                <a:gridCol w="1349829"/>
                <a:gridCol w="1349829"/>
                <a:gridCol w="1349829"/>
              </a:tblGrid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Project</a:t>
                      </a:r>
                      <a:r>
                        <a:rPr lang="en-US" sz="1000" b="0" i="0" baseline="0" dirty="0" smtClean="0"/>
                        <a:t>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2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3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Project</a:t>
                      </a:r>
                      <a:r>
                        <a:rPr lang="en-US" sz="1000" b="0" i="0" baseline="0" dirty="0" smtClean="0"/>
                        <a:t>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2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6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Business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8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8</a:t>
                      </a:r>
                      <a:r>
                        <a:rPr lang="en-US" sz="1000" b="0" baseline="0" dirty="0" smtClean="0"/>
                        <a:t>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0 (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1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</a:t>
                      </a:r>
                      <a:r>
                        <a:rPr lang="en-US" sz="1000" b="0" i="0" dirty="0" smtClean="0"/>
                        <a:t>Business Architec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</a:t>
                      </a:r>
                      <a:r>
                        <a:rPr lang="en-US" sz="1000" b="0" baseline="0" dirty="0" smtClean="0"/>
                        <a:t>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Business Architec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3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3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3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Business SME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2 (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2</a:t>
                      </a:r>
                      <a:r>
                        <a:rPr lang="en-US" sz="1000" b="0" baseline="0" dirty="0" smtClean="0"/>
                        <a:t> </a:t>
                      </a:r>
                      <a:r>
                        <a:rPr lang="en-US" sz="1000" b="0" dirty="0" smtClean="0"/>
                        <a:t>(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1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Business</a:t>
                      </a:r>
                      <a:r>
                        <a:rPr lang="en-US" sz="1000" b="0" i="0" baseline="0" dirty="0" smtClean="0"/>
                        <a:t> SME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6 (3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7 (1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0 (1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0 (1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0 (1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0 (1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Data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Data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Financial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/>
                        <a:t>Financial Analyst</a:t>
                      </a:r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Financial Specialist/SME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16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38 (25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54 (34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0 (3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1 (3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74 (4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Risk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Risk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9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Risk Directo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Manager Model</a:t>
                      </a:r>
                      <a:r>
                        <a:rPr lang="en-US" sz="1000" b="0" i="0" baseline="0" dirty="0" smtClean="0"/>
                        <a:t> Dev/Risk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5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7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8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9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0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Director Model/Risk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2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/>
                        <a:t>Officer Model Dev/Risk</a:t>
                      </a:r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/>
                        <a:t>45 (30)</a:t>
                      </a:r>
                      <a:endParaRPr lang="en-US" sz="1000" b="0" dirty="0" smtClean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7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8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9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1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2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Legal Speciali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ax Speciali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7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7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echnology</a:t>
                      </a:r>
                      <a:r>
                        <a:rPr lang="en-US" sz="1000" b="0" i="0" baseline="0" dirty="0" smtClean="0"/>
                        <a:t> Senior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8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2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Senior Technical PM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(1)</a:t>
                      </a:r>
                      <a:r>
                        <a:rPr lang="en-US" sz="1000" b="0" baseline="0" dirty="0" smtClean="0"/>
                        <a:t> 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smtClean="0"/>
                        <a:t>1(1)</a:t>
                      </a:r>
                      <a:r>
                        <a:rPr lang="en-US" sz="1000" b="0" baseline="0" smtClean="0"/>
                        <a:t> 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(1)</a:t>
                      </a:r>
                      <a:r>
                        <a:rPr lang="en-US" sz="1000" b="0" baseline="0" dirty="0" smtClean="0"/>
                        <a:t> 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2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echnical PM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2 (1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2 (1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5</a:t>
                      </a:r>
                      <a:r>
                        <a:rPr lang="en-US" sz="1000" b="0" baseline="0" dirty="0" smtClean="0"/>
                        <a:t> (1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8 (1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7 (2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7 (2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Functional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1 (2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1 (2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9 (2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86 (2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08 (3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08 (32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Development</a:t>
                      </a:r>
                      <a:r>
                        <a:rPr lang="en-US" sz="1000" b="0" i="0" baseline="0" dirty="0" smtClean="0"/>
                        <a:t> Manag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 (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Developer/Programm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4 (55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4 (55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77 (5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80 (5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0 (6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90 (61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echnical Data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8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3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8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8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echnical Analys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3 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9</a:t>
                      </a:r>
                      <a:r>
                        <a:rPr lang="en-US" sz="1000" b="0" baseline="0" dirty="0" smtClean="0"/>
                        <a:t> </a:t>
                      </a:r>
                      <a:r>
                        <a:rPr lang="en-US" sz="1000" b="0" dirty="0" smtClean="0"/>
                        <a:t>(16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45 (1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2 (1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2 (1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Tester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5 (3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5 (3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6 (3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7 (3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1 (3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61 (39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 smtClean="0"/>
                        <a:t>Architect</a:t>
                      </a:r>
                      <a:endParaRPr lang="en-US" sz="1000" b="0" i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3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3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4 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5</a:t>
                      </a:r>
                      <a:r>
                        <a:rPr lang="en-US" sz="1000" b="0" baseline="0" dirty="0" smtClean="0"/>
                        <a:t> </a:t>
                      </a:r>
                      <a:r>
                        <a:rPr lang="en-US" sz="1000" b="0" dirty="0" smtClean="0"/>
                        <a:t>(7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8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18 (8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0" i="1" dirty="0" smtClean="0"/>
                        <a:t>Technical Writer</a:t>
                      </a:r>
                      <a:endParaRPr lang="en-US" sz="1000" b="0" i="1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0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3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5 (0)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dirty="0" smtClean="0"/>
                        <a:t>TOTALS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613 (283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756</a:t>
                      </a:r>
                      <a:r>
                        <a:rPr lang="en-US" sz="1000" b="1" i="0" baseline="0" dirty="0" smtClean="0"/>
                        <a:t> </a:t>
                      </a:r>
                      <a:r>
                        <a:rPr lang="en-US" sz="1000" b="1" i="0" dirty="0" smtClean="0"/>
                        <a:t>(363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824 (383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867 (383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921 (374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964(398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rgbClr val="FFFF00"/>
                    </a:solidFill>
                  </a:tcPr>
                </a:tc>
              </a:tr>
              <a:tr h="172599"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dirty="0" smtClean="0"/>
                        <a:t>Incremental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143 (80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68</a:t>
                      </a:r>
                      <a:r>
                        <a:rPr lang="en-US" sz="1000" b="1" i="0" baseline="0" dirty="0" smtClean="0"/>
                        <a:t> </a:t>
                      </a:r>
                      <a:r>
                        <a:rPr lang="en-US" sz="1000" b="1" i="0" dirty="0" smtClean="0"/>
                        <a:t>(20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43 (0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54 (-9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 smtClean="0"/>
                        <a:t>43(24)</a:t>
                      </a:r>
                      <a:endParaRPr lang="en-US" sz="1000" b="1" i="0" dirty="0"/>
                    </a:p>
                  </a:txBody>
                  <a:tcPr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877876" y="256469"/>
            <a:ext cx="1993431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 smtClean="0"/>
              <a:t>Total Resources (External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015777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885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972" name="think-cell Slide" r:id="rId38" imgW="530" imgH="528" progId="TCLayout.ActiveDocument.1">
                  <p:embed/>
                </p:oleObj>
              </mc:Choice>
              <mc:Fallback>
                <p:oleObj name="think-cell Slide" r:id="rId38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52500" eaLnBrk="0" hangingPunct="0">
              <a:spcBef>
                <a:spcPct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0" y="6187736"/>
            <a:ext cx="10287000" cy="67026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40"/>
          <p:cNvSpPr>
            <a:spLocks/>
          </p:cNvSpPr>
          <p:nvPr/>
        </p:nvSpPr>
        <p:spPr bwMode="auto">
          <a:xfrm>
            <a:off x="282575" y="881062"/>
            <a:ext cx="9491663" cy="5666389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200" b="1" dirty="0" smtClean="0">
              <a:solidFill>
                <a:srgbClr val="FF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CART program will require an immediate ramp up of </a:t>
            </a:r>
            <a:r>
              <a:rPr lang="en-US" dirty="0" smtClean="0"/>
              <a:t>internal resources 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49453252"/>
              </p:ext>
            </p:extLst>
          </p:nvPr>
        </p:nvGraphicFramePr>
        <p:xfrm>
          <a:off x="495300" y="2095500"/>
          <a:ext cx="9281293" cy="2659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973" name="Chart" r:id="rId40" imgW="9281293" imgH="2659321" progId="MSGraph.Chart.8">
                  <p:embed followColorScheme="full"/>
                </p:oleObj>
              </mc:Choice>
              <mc:Fallback>
                <p:oleObj name="Chart" r:id="rId40" imgW="9281293" imgH="265932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495300" y="2095500"/>
                        <a:ext cx="9281293" cy="2659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 Placeholder 2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488363" y="219868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AB2FCB65-4686-4D04-B430-78625A65C301}" type="datetime'''8''''''''''''''''''8''6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8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Text Placeholder 2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791450" y="218440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76D4ADC-83B7-41D2-9238-69993E40B379}" type="datetime'''''''''''''''''''''''''''''8''''''''''''''''9''''1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91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92950" y="215423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000F784-AA35-4968-B96A-7B091E5527BB}" type="datetime'''9''''''''0''''''''''''''3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03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 Placeholder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94438" y="4741863"/>
            <a:ext cx="4937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81E2B05-5AFC-44C1-8018-5A0606D139A4}" type="datetime'M''''''a''''''''''''''''''r-''''''''''''''1''''''''''''''''6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Mar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396038" y="209232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FCC7F53-4AC9-42A3-A012-90EA1306A77D}" type="datetime'92''''''''''''''''''''''''''''8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28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185275" y="223678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A4BE185E-ECD2-44E2-84E5-C654B026F75C}" type="datetime'''''''''''''''''''''''''''8''7''''''''1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71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1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02288" y="4741863"/>
            <a:ext cx="4937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CF8C91FD-57AC-4ACB-ADA2-2147485E93E1}" type="datetime'''''''F''e''''b''''''''''''''''''''-1''''''''''''6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Feb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Text Placeholder 2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03888" y="207010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497F96EF-614B-4ED9-8A0F-9029AF61DACD}" type="datetime'''''''''''''9''''''''''''''''''''3''''8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38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1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677150" y="4741863"/>
            <a:ext cx="5191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A24E465-DC5B-49DC-945F-6AAAAB073495}" type="datetime'''''''''''''M''''''a''''y''''''-''''''''''''1''''6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May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394700" y="4741863"/>
            <a:ext cx="476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AF24CB91-1A42-4727-B89F-502499BED72E}" type="datetime'''''''''''Ju''''''''''''''n''''-''1''''''''''6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Jun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1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04050" y="4741863"/>
            <a:ext cx="4683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5BAD981F-54DD-4543-B379-0010E747A2EE}" type="datetime'''A''p''''''''''''''''''''r''''''''''''''-1''''''''''''''6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Apr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2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17013" y="4741863"/>
            <a:ext cx="4254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535857E4-0F42-48AF-A9F6-FAE35C0C853D}" type="datetime'''J''''''''''''''''''u''''''''l''''''''''''''''-1''''''6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Jul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508375" y="4741863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02C70D40-EF83-4753-BEF2-49D99D0CF9CF}" type="datetime'''''''''''''''''''''''N''ov''''''''-''''''''''''15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Nov-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Text Placeholder 2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05388" y="203200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78A5EBE-CC0F-4202-9249-FCD28C640173}" type="datetime'''''''''''''''''''''''''''''''''''''''''''''''9''5''''''''''3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53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1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202113" y="4741863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E2D5FBCB-4BAC-489D-80CB-2D2130CAD285}" type="datetime'''De''''c-1''''''''''''''''''''''''''''''''''''''''''5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Dec-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1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827338" y="4741863"/>
            <a:ext cx="469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EF188A52-D7C9-4821-A221-19B412738E57}" type="datetime'''''''Oc''''''''''''''''''''t''-''''''''''''1''''5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Oct-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19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614738" y="216852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86F9FEC2-A2DE-49D1-A194-0F8DBD46BE30}" type="datetime'''''''''8''9''''''''7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97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58825" y="4741863"/>
            <a:ext cx="4254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F4FD4188-5894-4E77-9C4A-A264073D23AD}" type="datetime'''Ju''''''''''''''''l''''''''''''''-''1''''''''''''5'">
              <a:rPr lang="en-US">
                <a:solidFill>
                  <a:schemeClr val="tx1"/>
                </a:solidFill>
              </a:rPr>
              <a:pPr/>
              <a:t>Jul-15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Text Placeholder 1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911725" y="4741863"/>
            <a:ext cx="476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95F45D9B-B3BB-4994-BF4E-0D901C7BC00E}" type="datetime'''''Jan''''''''''''''''-''''16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Jan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17825" y="224472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712AB0F-ADD5-469F-B15B-AA0AE47F9F2C}" type="datetime'''''''8''''''''''''''''''''''''''''''''''''''67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67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Text Placeholder 20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308475" y="211613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B997180-FE63-412F-9216-784744F48AF9}" type="datetime'''''9''''''''2''''1''''''''''''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21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522413" y="2519363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DFDC5A1-151A-4D85-824A-D7B27539A015}" type="datetime'''''''''''''''''''7''''''''''''''''''''''''''''5''''''''6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75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114550" y="4741863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1B38889-0F61-4155-81E1-C8453A6A4A9A}" type="datetime'''''''S''''''e''p''-''''''1''''''''''''''''''5'''">
              <a:rPr lang="en-US">
                <a:solidFill>
                  <a:schemeClr val="tx1"/>
                </a:solidFill>
              </a:rPr>
              <a:pPr/>
              <a:t>Sep-15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Text Placeholder 1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27088" y="287020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AFBDA8B8-B6DE-4CA8-A0C6-66E66168F1CC}" type="datetime'''''''''''''6''''''''''''''''''''''''''''''''''14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614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220913" y="235108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4C4D8F9-34A5-41F7-9403-EEB55267594B}" type="datetime'''''''''''''''8''''2''''''''''''''''''''4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24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16050" y="4741863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FBF5DAD-18FA-4C28-9457-D06D250B0F83}" type="datetime'''''Aug''''-''''''15'''''''''''''''''''''''''''''''">
              <a:rPr lang="en-US">
                <a:solidFill>
                  <a:schemeClr val="tx1"/>
                </a:solidFill>
              </a:rPr>
              <a:pPr/>
              <a:t>Aug-15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Oval 26"/>
          <p:cNvSpPr>
            <a:spLocks/>
          </p:cNvSpPr>
          <p:nvPr/>
        </p:nvSpPr>
        <p:spPr bwMode="auto">
          <a:xfrm>
            <a:off x="1390018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5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Oval 27"/>
          <p:cNvSpPr>
            <a:spLocks/>
          </p:cNvSpPr>
          <p:nvPr/>
        </p:nvSpPr>
        <p:spPr bwMode="auto">
          <a:xfrm>
            <a:off x="2086729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9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Oval 28"/>
          <p:cNvSpPr>
            <a:spLocks/>
          </p:cNvSpPr>
          <p:nvPr/>
        </p:nvSpPr>
        <p:spPr bwMode="auto">
          <a:xfrm>
            <a:off x="2783440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29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" name="Oval 29"/>
          <p:cNvSpPr>
            <a:spLocks/>
          </p:cNvSpPr>
          <p:nvPr/>
        </p:nvSpPr>
        <p:spPr bwMode="auto">
          <a:xfrm>
            <a:off x="3480151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53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>
            <a:spLocks/>
          </p:cNvSpPr>
          <p:nvPr/>
        </p:nvSpPr>
        <p:spPr bwMode="auto">
          <a:xfrm>
            <a:off x="4176862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7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" name="Oval 31"/>
          <p:cNvSpPr>
            <a:spLocks/>
          </p:cNvSpPr>
          <p:nvPr/>
        </p:nvSpPr>
        <p:spPr bwMode="auto">
          <a:xfrm>
            <a:off x="4873573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9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" name="Oval 32"/>
          <p:cNvSpPr>
            <a:spLocks/>
          </p:cNvSpPr>
          <p:nvPr/>
        </p:nvSpPr>
        <p:spPr bwMode="auto">
          <a:xfrm>
            <a:off x="5570284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>
            <a:spLocks/>
          </p:cNvSpPr>
          <p:nvPr/>
        </p:nvSpPr>
        <p:spPr bwMode="auto">
          <a:xfrm>
            <a:off x="6266995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Oval 34"/>
          <p:cNvSpPr>
            <a:spLocks/>
          </p:cNvSpPr>
          <p:nvPr/>
        </p:nvSpPr>
        <p:spPr bwMode="auto">
          <a:xfrm>
            <a:off x="6963706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8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6" name="Oval 35"/>
          <p:cNvSpPr>
            <a:spLocks/>
          </p:cNvSpPr>
          <p:nvPr/>
        </p:nvSpPr>
        <p:spPr bwMode="auto">
          <a:xfrm>
            <a:off x="7660417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9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Oval 36"/>
          <p:cNvSpPr>
            <a:spLocks/>
          </p:cNvSpPr>
          <p:nvPr/>
        </p:nvSpPr>
        <p:spPr bwMode="auto">
          <a:xfrm>
            <a:off x="8357128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9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Oval 37"/>
          <p:cNvSpPr>
            <a:spLocks/>
          </p:cNvSpPr>
          <p:nvPr/>
        </p:nvSpPr>
        <p:spPr bwMode="auto">
          <a:xfrm>
            <a:off x="9053837" y="5480739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1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9" name="Rectangle 39"/>
          <p:cNvSpPr txBox="1"/>
          <p:nvPr/>
        </p:nvSpPr>
        <p:spPr>
          <a:xfrm>
            <a:off x="289718" y="5461193"/>
            <a:ext cx="10747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Internal</a:t>
            </a:r>
            <a:r>
              <a:rPr lang="en-US" sz="1200" baseline="30000" dirty="0" smtClean="0"/>
              <a:t>1</a:t>
            </a:r>
            <a:r>
              <a:rPr lang="en-US" sz="1200" dirty="0" smtClean="0"/>
              <a:t>:</a:t>
            </a:r>
            <a:endParaRPr lang="en-US" sz="1200" dirty="0"/>
          </a:p>
        </p:txBody>
      </p:sp>
      <p:sp>
        <p:nvSpPr>
          <p:cNvPr id="42" name="Rectangle 42"/>
          <p:cNvSpPr txBox="1">
            <a:spLocks/>
          </p:cNvSpPr>
          <p:nvPr/>
        </p:nvSpPr>
        <p:spPr>
          <a:xfrm>
            <a:off x="282575" y="881063"/>
            <a:ext cx="9491663" cy="6070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200" b="1" dirty="0" smtClean="0">
                <a:solidFill>
                  <a:schemeClr val="bg1"/>
                </a:solidFill>
              </a:rPr>
              <a:t>Full-time employees (FTE) and full-time consultants (FTC) needed across CART </a:t>
            </a:r>
            <a:r>
              <a:rPr lang="en-US" sz="1200" b="1" dirty="0" err="1" smtClean="0">
                <a:solidFill>
                  <a:schemeClr val="bg1"/>
                </a:solidFill>
              </a:rPr>
              <a:t>workstreams</a:t>
            </a:r>
            <a:endParaRPr lang="en-US" sz="1200" b="1" dirty="0" smtClean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>
                <a:solidFill>
                  <a:schemeClr val="bg1"/>
                </a:solidFill>
              </a:rPr>
              <a:t>FTE and FTC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623295" y="2320925"/>
            <a:ext cx="696712" cy="2622443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2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53"/>
          <p:cNvSpPr txBox="1"/>
          <p:nvPr/>
        </p:nvSpPr>
        <p:spPr>
          <a:xfrm>
            <a:off x="568839" y="1957388"/>
            <a:ext cx="82117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200" dirty="0" smtClean="0">
                <a:solidFill>
                  <a:schemeClr val="accent1"/>
                </a:solidFill>
              </a:rPr>
              <a:t>Current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31"/>
            </p:custDataLst>
          </p:nvPr>
        </p:nvSpPr>
        <p:spPr bwMode="auto">
          <a:xfrm>
            <a:off x="5081588" y="1682750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>
            <p:custDataLst>
              <p:tags r:id="rId32"/>
            </p:custDataLst>
          </p:nvPr>
        </p:nvSpPr>
        <p:spPr bwMode="auto">
          <a:xfrm>
            <a:off x="7756525" y="1682750"/>
            <a:ext cx="165100" cy="165100"/>
          </a:xfrm>
          <a:prstGeom prst="rect">
            <a:avLst/>
          </a:prstGeom>
          <a:solidFill>
            <a:srgbClr val="E65369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33"/>
            </p:custDataLst>
          </p:nvPr>
        </p:nvSpPr>
        <p:spPr bwMode="auto">
          <a:xfrm>
            <a:off x="6389688" y="1682750"/>
            <a:ext cx="165100" cy="165100"/>
          </a:xfrm>
          <a:prstGeom prst="rect">
            <a:avLst/>
          </a:prstGeom>
          <a:solidFill>
            <a:srgbClr val="F57800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 Placeholder 30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56388" y="1681163"/>
            <a:ext cx="896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0DD95CDF-4DBF-4064-B2B8-65A3334A36D3}" type="datetime'''Ex''''''t''''er''n''al ''''''''''''''''''''''F''''''T''''C'">
              <a:rPr lang="en-US">
                <a:solidFill>
                  <a:schemeClr val="tx1"/>
                </a:solidFill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External FTC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Text Placeholder 28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48288" y="1681163"/>
            <a:ext cx="8382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BC2C9290-5EEF-4611-9A16-3028DCC0284E}" type="datetime'I''nt''''ern''''''al'''''''''' ''''''''FTE'''">
              <a:rPr lang="en-US">
                <a:solidFill>
                  <a:schemeClr val="tx1"/>
                </a:solidFill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Internal FT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Text Placeholder 29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023225" y="1681163"/>
            <a:ext cx="15843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7F47F565-653C-40D2-9AFB-001377C0F9F6}" type="datetime'En''ti''''''ties /'''''' ''F''a''c''to''ri''es'' ''FT''''E'">
              <a:rPr lang="en-US">
                <a:solidFill>
                  <a:schemeClr val="tx1"/>
                </a:solidFill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Entities / Factories FT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Rectangle 39"/>
          <p:cNvSpPr txBox="1"/>
          <p:nvPr/>
        </p:nvSpPr>
        <p:spPr>
          <a:xfrm>
            <a:off x="280220" y="5054342"/>
            <a:ext cx="10747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200" b="1" u="sng" dirty="0" smtClean="0"/>
              <a:t>Incremental to current:</a:t>
            </a:r>
            <a:endParaRPr lang="en-US" sz="1200" b="1" u="sng" dirty="0"/>
          </a:p>
        </p:txBody>
      </p:sp>
      <p:sp>
        <p:nvSpPr>
          <p:cNvPr id="61" name="Oval 60"/>
          <p:cNvSpPr>
            <a:spLocks/>
          </p:cNvSpPr>
          <p:nvPr/>
        </p:nvSpPr>
        <p:spPr bwMode="auto">
          <a:xfrm>
            <a:off x="1398294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8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2" name="Oval 61"/>
          <p:cNvSpPr>
            <a:spLocks/>
          </p:cNvSpPr>
          <p:nvPr/>
        </p:nvSpPr>
        <p:spPr bwMode="auto">
          <a:xfrm>
            <a:off x="2095005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0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3" name="Oval 62"/>
          <p:cNvSpPr>
            <a:spLocks/>
          </p:cNvSpPr>
          <p:nvPr/>
        </p:nvSpPr>
        <p:spPr bwMode="auto">
          <a:xfrm>
            <a:off x="2791716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0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4" name="Oval 63"/>
          <p:cNvSpPr>
            <a:spLocks/>
          </p:cNvSpPr>
          <p:nvPr/>
        </p:nvSpPr>
        <p:spPr bwMode="auto">
          <a:xfrm>
            <a:off x="3488427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01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5" name="Oval 64"/>
          <p:cNvSpPr>
            <a:spLocks/>
          </p:cNvSpPr>
          <p:nvPr/>
        </p:nvSpPr>
        <p:spPr bwMode="auto">
          <a:xfrm>
            <a:off x="4185138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9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6" name="Oval 65"/>
          <p:cNvSpPr>
            <a:spLocks/>
          </p:cNvSpPr>
          <p:nvPr/>
        </p:nvSpPr>
        <p:spPr bwMode="auto">
          <a:xfrm>
            <a:off x="4881849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9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7" name="Oval 66"/>
          <p:cNvSpPr>
            <a:spLocks/>
          </p:cNvSpPr>
          <p:nvPr/>
        </p:nvSpPr>
        <p:spPr bwMode="auto">
          <a:xfrm>
            <a:off x="5578560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76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8" name="Oval 67"/>
          <p:cNvSpPr>
            <a:spLocks/>
          </p:cNvSpPr>
          <p:nvPr/>
        </p:nvSpPr>
        <p:spPr bwMode="auto">
          <a:xfrm>
            <a:off x="6275271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63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9" name="Oval 68"/>
          <p:cNvSpPr>
            <a:spLocks/>
          </p:cNvSpPr>
          <p:nvPr/>
        </p:nvSpPr>
        <p:spPr bwMode="auto">
          <a:xfrm>
            <a:off x="6971982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3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0" name="Oval 69"/>
          <p:cNvSpPr>
            <a:spLocks/>
          </p:cNvSpPr>
          <p:nvPr/>
        </p:nvSpPr>
        <p:spPr bwMode="auto">
          <a:xfrm>
            <a:off x="7668693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Oval 70"/>
          <p:cNvSpPr>
            <a:spLocks/>
          </p:cNvSpPr>
          <p:nvPr/>
        </p:nvSpPr>
        <p:spPr bwMode="auto">
          <a:xfrm>
            <a:off x="8365404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2" name="Oval 71"/>
          <p:cNvSpPr>
            <a:spLocks/>
          </p:cNvSpPr>
          <p:nvPr/>
        </p:nvSpPr>
        <p:spPr bwMode="auto">
          <a:xfrm>
            <a:off x="9062113" y="5810031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3" name="Rectangle 39"/>
          <p:cNvSpPr txBox="1"/>
          <p:nvPr/>
        </p:nvSpPr>
        <p:spPr>
          <a:xfrm>
            <a:off x="297994" y="5790485"/>
            <a:ext cx="10747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External:</a:t>
            </a:r>
            <a:endParaRPr lang="en-US" sz="1200" dirty="0"/>
          </a:p>
        </p:txBody>
      </p:sp>
      <p:sp>
        <p:nvSpPr>
          <p:cNvPr id="74" name="Oval 73"/>
          <p:cNvSpPr>
            <a:spLocks/>
          </p:cNvSpPr>
          <p:nvPr/>
        </p:nvSpPr>
        <p:spPr bwMode="auto">
          <a:xfrm>
            <a:off x="1389416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Oval 74"/>
          <p:cNvSpPr>
            <a:spLocks/>
          </p:cNvSpPr>
          <p:nvPr/>
        </p:nvSpPr>
        <p:spPr bwMode="auto">
          <a:xfrm>
            <a:off x="2086127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13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6" name="Oval 75"/>
          <p:cNvSpPr>
            <a:spLocks/>
          </p:cNvSpPr>
          <p:nvPr/>
        </p:nvSpPr>
        <p:spPr bwMode="auto">
          <a:xfrm>
            <a:off x="2782838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7" name="Oval 76"/>
          <p:cNvSpPr>
            <a:spLocks/>
          </p:cNvSpPr>
          <p:nvPr/>
        </p:nvSpPr>
        <p:spPr bwMode="auto">
          <a:xfrm>
            <a:off x="3479549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29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Oval 77"/>
          <p:cNvSpPr>
            <a:spLocks/>
          </p:cNvSpPr>
          <p:nvPr/>
        </p:nvSpPr>
        <p:spPr bwMode="auto">
          <a:xfrm>
            <a:off x="4176260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3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9" name="Oval 78"/>
          <p:cNvSpPr>
            <a:spLocks/>
          </p:cNvSpPr>
          <p:nvPr/>
        </p:nvSpPr>
        <p:spPr bwMode="auto">
          <a:xfrm>
            <a:off x="4872971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0" name="Oval 79"/>
          <p:cNvSpPr>
            <a:spLocks/>
          </p:cNvSpPr>
          <p:nvPr/>
        </p:nvSpPr>
        <p:spPr bwMode="auto">
          <a:xfrm>
            <a:off x="5569682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1" name="Oval 80"/>
          <p:cNvSpPr>
            <a:spLocks/>
          </p:cNvSpPr>
          <p:nvPr/>
        </p:nvSpPr>
        <p:spPr bwMode="auto">
          <a:xfrm>
            <a:off x="6266393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6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2" name="Oval 81"/>
          <p:cNvSpPr>
            <a:spLocks/>
          </p:cNvSpPr>
          <p:nvPr/>
        </p:nvSpPr>
        <p:spPr bwMode="auto">
          <a:xfrm>
            <a:off x="6963104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6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Oval 82"/>
          <p:cNvSpPr>
            <a:spLocks/>
          </p:cNvSpPr>
          <p:nvPr/>
        </p:nvSpPr>
        <p:spPr bwMode="auto">
          <a:xfrm>
            <a:off x="7659815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4" name="Oval 83"/>
          <p:cNvSpPr>
            <a:spLocks/>
          </p:cNvSpPr>
          <p:nvPr/>
        </p:nvSpPr>
        <p:spPr bwMode="auto">
          <a:xfrm>
            <a:off x="8356526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5" name="Oval 84"/>
          <p:cNvSpPr>
            <a:spLocks/>
          </p:cNvSpPr>
          <p:nvPr/>
        </p:nvSpPr>
        <p:spPr bwMode="auto">
          <a:xfrm>
            <a:off x="9053235" y="6145624"/>
            <a:ext cx="553714" cy="257453"/>
          </a:xfrm>
          <a:prstGeom prst="ellipse">
            <a:avLst/>
          </a:prstGeom>
          <a:solidFill>
            <a:srgbClr val="FF0000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200" smtClean="0">
                <a:solidFill>
                  <a:schemeClr val="bg1"/>
                </a:solidFill>
              </a:rPr>
              <a:t>4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6" name="Rectangle 39"/>
          <p:cNvSpPr txBox="1"/>
          <p:nvPr/>
        </p:nvSpPr>
        <p:spPr>
          <a:xfrm>
            <a:off x="289116" y="6063932"/>
            <a:ext cx="10747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Entities / Factories:</a:t>
            </a:r>
            <a:endParaRPr lang="en-US" sz="1200" dirty="0"/>
          </a:p>
        </p:txBody>
      </p:sp>
      <p:sp>
        <p:nvSpPr>
          <p:cNvPr id="90" name="Rectangle 3"/>
          <p:cNvSpPr txBox="1"/>
          <p:nvPr/>
        </p:nvSpPr>
        <p:spPr>
          <a:xfrm>
            <a:off x="1858" y="6547452"/>
            <a:ext cx="94932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None/>
            </a:pPr>
            <a:r>
              <a:rPr lang="en-US" sz="1000" dirty="0" smtClean="0"/>
              <a:t>1 </a:t>
            </a:r>
            <a:r>
              <a:rPr lang="en-US" sz="1000" dirty="0" err="1" smtClean="0"/>
              <a:t>SHUSA</a:t>
            </a:r>
            <a:r>
              <a:rPr lang="en-US" sz="1000" dirty="0" smtClean="0"/>
              <a:t> CART related resources; </a:t>
            </a:r>
            <a:r>
              <a:rPr lang="en-US" sz="1000" dirty="0" err="1" smtClean="0"/>
              <a:t>T&amp;O</a:t>
            </a:r>
            <a:r>
              <a:rPr lang="en-US" sz="1000" dirty="0" smtClean="0"/>
              <a:t> Internal includes </a:t>
            </a:r>
            <a:r>
              <a:rPr lang="en-US" sz="1000" dirty="0" err="1" smtClean="0"/>
              <a:t>SHUSA</a:t>
            </a:r>
            <a:r>
              <a:rPr lang="en-US" sz="1000" dirty="0" smtClean="0"/>
              <a:t> and </a:t>
            </a:r>
            <a:r>
              <a:rPr lang="en-US" sz="1000" dirty="0" err="1" smtClean="0"/>
              <a:t>SBN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9926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512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240" name="think-cell Slide" r:id="rId70" imgW="530" imgH="528" progId="TCLayout.ActiveDocument.1">
                  <p:embed/>
                </p:oleObj>
              </mc:Choice>
              <mc:Fallback>
                <p:oleObj name="think-cell Slide" r:id="rId70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52500" eaLnBrk="0" hangingPunct="0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Rectangle 88"/>
          <p:cNvSpPr>
            <a:spLocks/>
          </p:cNvSpPr>
          <p:nvPr/>
        </p:nvSpPr>
        <p:spPr bwMode="auto">
          <a:xfrm>
            <a:off x="282575" y="870012"/>
            <a:ext cx="9491663" cy="5246703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3037455"/>
              </p:ext>
            </p:extLst>
          </p:nvPr>
        </p:nvGraphicFramePr>
        <p:xfrm>
          <a:off x="990600" y="1638300"/>
          <a:ext cx="8648899" cy="409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241" name="Chart" r:id="rId72" imgW="8648899" imgH="4092116" progId="MSGraph.Chart.8">
                  <p:embed followColorScheme="full"/>
                </p:oleObj>
              </mc:Choice>
              <mc:Fallback>
                <p:oleObj name="Chart" r:id="rId72" imgW="8648899" imgH="409211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990600" y="1638300"/>
                        <a:ext cx="8648899" cy="409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26" name="Straight Connector 625"/>
          <p:cNvCxnSpPr/>
          <p:nvPr>
            <p:custDataLst>
              <p:tags r:id="rId5"/>
            </p:custDataLst>
          </p:nvPr>
        </p:nvCxnSpPr>
        <p:spPr bwMode="auto">
          <a:xfrm>
            <a:off x="1244600" y="5229224"/>
            <a:ext cx="57150" cy="3476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9" name="Straight Connector 448"/>
          <p:cNvCxnSpPr/>
          <p:nvPr>
            <p:custDataLst>
              <p:tags r:id="rId6"/>
            </p:custDataLst>
          </p:nvPr>
        </p:nvCxnSpPr>
        <p:spPr bwMode="auto">
          <a:xfrm flipH="1">
            <a:off x="4159250" y="3008313"/>
            <a:ext cx="952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>
            <p:custDataLst>
              <p:tags r:id="rId7"/>
            </p:custDataLst>
          </p:nvPr>
        </p:nvCxnSpPr>
        <p:spPr bwMode="auto">
          <a:xfrm flipH="1">
            <a:off x="4159250" y="3419475"/>
            <a:ext cx="952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8" name="Straight Connector 447"/>
          <p:cNvCxnSpPr/>
          <p:nvPr>
            <p:custDataLst>
              <p:tags r:id="rId8"/>
            </p:custDataLst>
          </p:nvPr>
        </p:nvCxnSpPr>
        <p:spPr bwMode="auto">
          <a:xfrm flipV="1">
            <a:off x="1244600" y="3965575"/>
            <a:ext cx="57150" cy="1270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>
            <p:custDataLst>
              <p:tags r:id="rId9"/>
            </p:custDataLst>
          </p:nvPr>
        </p:nvCxnSpPr>
        <p:spPr bwMode="auto">
          <a:xfrm>
            <a:off x="1244600" y="3392488"/>
            <a:ext cx="57150" cy="1270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>
            <p:custDataLst>
              <p:tags r:id="rId10"/>
            </p:custDataLst>
          </p:nvPr>
        </p:nvCxnSpPr>
        <p:spPr bwMode="auto">
          <a:xfrm>
            <a:off x="814388" y="3392488"/>
            <a:ext cx="430212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/>
          <p:cNvCxnSpPr/>
          <p:nvPr>
            <p:custDataLst>
              <p:tags r:id="rId11"/>
            </p:custDataLst>
          </p:nvPr>
        </p:nvCxnSpPr>
        <p:spPr bwMode="auto">
          <a:xfrm>
            <a:off x="1136650" y="4092575"/>
            <a:ext cx="1079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>
            <p:custDataLst>
              <p:tags r:id="rId12"/>
            </p:custDataLst>
          </p:nvPr>
        </p:nvCxnSpPr>
        <p:spPr bwMode="auto">
          <a:xfrm>
            <a:off x="781050" y="5462588"/>
            <a:ext cx="4635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/>
          <p:cNvCxnSpPr/>
          <p:nvPr>
            <p:custDataLst>
              <p:tags r:id="rId13"/>
            </p:custDataLst>
          </p:nvPr>
        </p:nvCxnSpPr>
        <p:spPr bwMode="auto">
          <a:xfrm>
            <a:off x="1244600" y="5462588"/>
            <a:ext cx="57150" cy="16351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5" name="Straight Connector 624"/>
          <p:cNvCxnSpPr/>
          <p:nvPr>
            <p:custDataLst>
              <p:tags r:id="rId14"/>
            </p:custDataLst>
          </p:nvPr>
        </p:nvCxnSpPr>
        <p:spPr bwMode="auto">
          <a:xfrm>
            <a:off x="949325" y="5229225"/>
            <a:ext cx="2952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Text Placeholder 57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205663" y="3241675"/>
            <a:ext cx="206375" cy="1825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56606E0-35B5-4135-9C6F-8E153726BCCC}" type="datetime'''''''''''''''''''''''''''1''''''7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7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59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902450" y="1760538"/>
            <a:ext cx="206375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A192E80-67A7-4A88-A758-D5E52B041420}" type="datetime'''''''''''''''''''''''''''''''''''''10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0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5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42100" y="3328988"/>
            <a:ext cx="122238" cy="182563"/>
          </a:xfrm>
          <a:prstGeom prst="rect">
            <a:avLst/>
          </a:prstGeom>
          <a:solidFill>
            <a:srgbClr val="959595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A30EB7B-01BB-4B16-A32F-C23301D90FEA}" type="datetime'''''''''''''''''''''''''''''''''''''''5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5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5" name="Text Placeholder 5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514975" y="3241675"/>
            <a:ext cx="206375" cy="1825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84604FF-96E5-488B-AB7B-C30EDDA9A3DE}" type="datetime'''1''''''''''''''''''''''''''''''''''''''''''7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7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58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642100" y="2205038"/>
            <a:ext cx="122238" cy="182563"/>
          </a:xfrm>
          <a:prstGeom prst="rect">
            <a:avLst/>
          </a:prstGeom>
          <a:solidFill>
            <a:srgbClr val="FCCBD3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297530D-5DE8-498B-B1E1-FB85A5DBC69D}" type="datetime'''''''''''''''''1''''''''''''''''''''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5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56175" y="2362200"/>
            <a:ext cx="122238" cy="182563"/>
          </a:xfrm>
          <a:prstGeom prst="rect">
            <a:avLst/>
          </a:prstGeom>
          <a:solidFill>
            <a:srgbClr val="FCCBD3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392E6D4-8727-4B65-820D-F059102F0CB0}" type="datetime'''''''''''2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2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61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331200" y="3328988"/>
            <a:ext cx="122238" cy="182563"/>
          </a:xfrm>
          <a:prstGeom prst="rect">
            <a:avLst/>
          </a:prstGeom>
          <a:solidFill>
            <a:srgbClr val="959595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90E1A8D-B77E-44AA-AA1C-EC225D897AC3}" type="datetime'''''''''''''''''''''''''''''5''''''''''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5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6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891588" y="3241675"/>
            <a:ext cx="206375" cy="1825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2067BDC-8451-4BBD-9806-BC1332540558}" type="datetime'''''1''''''''''''7''''''''''''''''''''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7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4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956175" y="3328988"/>
            <a:ext cx="122238" cy="182563"/>
          </a:xfrm>
          <a:prstGeom prst="rect">
            <a:avLst/>
          </a:prstGeom>
          <a:solidFill>
            <a:srgbClr val="959595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60403A7-2AF6-45CB-85D2-2639039D58C7}" type="datetime'''''''''''''''''''''''''''''''''''''''''''5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5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8" name="Text Placeholder 5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514975" y="1989138"/>
            <a:ext cx="206375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0C766DA-7A9A-419D-9893-D567FCFFAA8E}" type="datetime'''''''''''''''''''''''''1''0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0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Text Placeholder 6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632825" y="1709738"/>
            <a:ext cx="122238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E958DC8-52F5-4800-92AF-CE01B00BF2F2}" type="datetime'''''''''''''9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6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632825" y="5540375"/>
            <a:ext cx="122238" cy="182563"/>
          </a:xfrm>
          <a:prstGeom prst="rect">
            <a:avLst/>
          </a:prstGeom>
          <a:solidFill>
            <a:srgbClr val="FCCBD3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21EFE43-6D7E-4C91-948C-BAE43381B9A9}" type="datetime'''''''''''0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0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Text Placeholder 29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93713" y="5138738"/>
            <a:ext cx="4302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3C961E9C-C084-43B5-AD2F-3FCF44A446F8}" type="datetime'''''CCA''''''''R''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CCAR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93713" y="3535363"/>
            <a:ext cx="7254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B411A9E-D364-4C2C-AD99-16CA00AF705E}" type="datetime'''M''''''o''de''''''l'' ''''''''''''''''D''''ev'''''''''''">
              <a:rPr lang="en-US">
                <a:solidFill>
                  <a:schemeClr val="tx1"/>
                </a:solidFill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Model Dev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2" name="Text Placeholder 5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871913" y="2879725"/>
            <a:ext cx="122238" cy="182563"/>
          </a:xfrm>
          <a:prstGeom prst="rect">
            <a:avLst/>
          </a:prstGeom>
          <a:solidFill>
            <a:srgbClr val="F793A7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427A92C-7839-4918-90E4-0AB8899506CE}" type="datetime'''''''''''''''''''''''''''8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60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548688" y="152717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F9B6A2A-6630-4566-9E4F-9770C94EE6D3}" type="datetime'''''''''''''''''''''48''''''''''''''''''''''''''''3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483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6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93713" y="4002088"/>
            <a:ext cx="6175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A32BF6F8-5951-4249-83E5-F716ECF3CEEB}" type="datetime'O''''p''''s'''' Ri''s''''''''''''k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Ops Risk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8" name="Text Placeholder 151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067300" y="5862638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31E6AFE-CFE3-413A-BCEB-A4762F0A700B}" type="datetime'''''''''D''''''''''''''''''''e''''c''''''-''1''''''5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Dec-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2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93713" y="3768725"/>
            <a:ext cx="3635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13BD5A0-7AB1-4E1F-8A3E-104FA1190B30}" type="datetime'M''''''''''''''''''''''''''''''''''R''''''''''''''M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MRM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Text Placeholder 28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3713" y="4308475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B5E7AA08-07D5-4532-9AF7-F6A5A08A69C9}" type="datetime'F''''''''''''''i''''''n''''''''a''''''n''''''''c''''''''e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Finance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93713" y="3302000"/>
            <a:ext cx="295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D624A13C-2725-4425-A65B-C622C41CA86F}" type="datetime'R''''''''''''''''''i''''''s''''''''''k'''">
              <a:rPr lang="en-US">
                <a:solidFill>
                  <a:schemeClr val="tx1"/>
                </a:solidFill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Risk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13" name="Text Placeholder 15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455025" y="5862638"/>
            <a:ext cx="476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0319AF0B-8A0B-4932-9B04-C48263C32A0B}" type="datetime'''''''''''''''J''''''''''''''''un''''-''1''6'''''">
              <a:rPr lang="en-US">
                <a:solidFill>
                  <a:schemeClr val="tx1"/>
                </a:solidFill>
              </a:rPr>
              <a:pPr/>
              <a:t>Jun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" name="Text Placeholder 15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759575" y="5862638"/>
            <a:ext cx="4937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B777C2C7-FBC7-45AE-89B5-76746DC28462}" type="datetime'''''M''ar''-''''''''''''1''''''''''''''''6'">
              <a:rPr lang="en-US">
                <a:solidFill>
                  <a:schemeClr val="tx1"/>
                </a:solidFill>
              </a:rPr>
              <a:pPr/>
              <a:t>Mar-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54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861175" y="157797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1E96BFA4-E80A-4AAC-8050-D4C06764DB38}" type="datetime'''''''''''''''''''''4''''''7''''''''''''8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478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1" name="Text Placeholder 47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73663" y="180657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34C6563-3D1D-4754-9EEF-245CD9DB2DEF}" type="datetime'''''''''''''''4''''''''''''''''''''4''''9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449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6" name="Text Placeholder 110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378200" y="5862638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763CA4E1-8B42-4A72-AB74-87F39560CE0E}" type="datetime'''''''''''''''''''''''''''''''''Se''p''''''-''1''''''''5'''">
              <a:rPr lang="en-US">
                <a:solidFill>
                  <a:schemeClr val="tx1"/>
                </a:solidFill>
              </a:rPr>
              <a:pPr/>
              <a:t>Sep-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4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579563" y="3543300"/>
            <a:ext cx="122238" cy="182563"/>
          </a:xfrm>
          <a:prstGeom prst="rect">
            <a:avLst/>
          </a:prstGeom>
          <a:solidFill>
            <a:srgbClr val="E65369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99FEA0A-DCD1-4EE6-9834-7B4128D8D402}" type="datetime'''''9''''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9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403350" y="5862638"/>
            <a:ext cx="10763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F4FD4188-5894-4E77-9C4A-A264073D23AD}" type="datetime'''Ju''''''''''''''''l''''''''''''''-''1''''''''''''5'">
              <a:rPr lang="en-US" smtClean="0">
                <a:solidFill>
                  <a:schemeClr val="tx1"/>
                </a:solidFill>
              </a:rPr>
              <a:pPr/>
              <a:t>Jul-15</a:t>
            </a:fld>
            <a:r>
              <a:rPr lang="en-US" dirty="0" smtClean="0">
                <a:solidFill>
                  <a:schemeClr val="tx1"/>
                </a:solidFill>
              </a:rPr>
              <a:t> (Current)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Text Placeholder 24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797050" y="3235325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CB6CBE8-6C74-4109-B846-5443499841C2}" type="datetime'''''''''''2''''''''''''''7''''4'''''">
              <a:rPr lang="en-US">
                <a:solidFill>
                  <a:schemeClr val="tx1"/>
                </a:solidFill>
              </a:rPr>
              <a:pPr/>
              <a:t>274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2" name="Text Placeholder 48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829050" y="3181350"/>
            <a:ext cx="206375" cy="182563"/>
          </a:xfrm>
          <a:prstGeom prst="rect">
            <a:avLst/>
          </a:prstGeom>
          <a:solidFill>
            <a:srgbClr val="FFBB77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1B8C4B0-D3FB-4B6A-A42F-4ACB886F9683}" type="datetime'''''1''''''''''''''''''''''''''''''''''''''''''''''''6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6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Text Placeholder 41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844675" y="3875088"/>
            <a:ext cx="195263" cy="182563"/>
          </a:xfrm>
          <a:prstGeom prst="rect">
            <a:avLst/>
          </a:prstGeom>
          <a:solidFill>
            <a:srgbClr val="FBC4CE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987B1C6-BECC-44D7-A25E-B9440FFB7736}" type="datetime'''''''''''''''''''''''''''''''''''''1''1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1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31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93713" y="5372100"/>
            <a:ext cx="261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7877AABB-A828-44C8-8982-9D92BA1464B5}" type="datetime'I''''''''H''''''''''''''''''''''C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IHC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Text Placeholder 3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93713" y="4905375"/>
            <a:ext cx="6445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B21F787-C5CC-4BD8-AE68-ECDD255E27B0}" type="datetime'''''''D''''a''''ta ''''''&amp;'''''' ''''''''''''I''''T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Data &amp; IT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4" name="Text Placeholder 40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843088" y="5486400"/>
            <a:ext cx="198438" cy="1825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499E976D-691C-4B80-A10C-5BE60676E0AB}" type="datetime'''''''''''''''1''1''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1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7" name="Text Placeholder 4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265488" y="3276600"/>
            <a:ext cx="122238" cy="1825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D5B706B-4B18-4A90-AF17-36CE4F72431D}" type="datetime'''''''''''''''''8''''''''''''''''''''''''''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8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Text Placeholder 46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833813" y="2640013"/>
            <a:ext cx="198438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8467630-EFB9-4665-AE3A-23A56568C9B0}" type="datetime'''''''''1''''''''''''''''''''''''''''''''''''''''1'"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1</a:t>
            </a:fld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ext Placeholder 5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514975" y="2297113"/>
            <a:ext cx="206375" cy="182563"/>
          </a:xfrm>
          <a:prstGeom prst="rect">
            <a:avLst/>
          </a:prstGeom>
          <a:solidFill>
            <a:srgbClr val="F793A7"/>
          </a:solidFill>
          <a:ln w="9525">
            <a:noFill/>
            <a:miter lim="800000"/>
            <a:headEnd/>
            <a:tailEnd/>
          </a:ln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91BDCB9-8327-4A05-86E1-D7F320F908F7}" type="datetime'''''''1''''''''''''''''5''''''''''''''''''''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15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" name="Text Placeholder 39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484563" y="245745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3B53B7F-B8B9-404B-9B44-C8AFA13E502E}" type="datetime'''''''''''''''''''''''''''''''''''''''3''''''''''6''''''''''7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 algn="ctr">
                <a:spcBef>
                  <a:spcPct val="0"/>
                </a:spcBef>
                <a:buNone/>
              </a:pPr>
              <a:t>367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6" name="Rectangle 365"/>
          <p:cNvSpPr/>
          <p:nvPr>
            <p:custDataLst>
              <p:tags r:id="rId53"/>
            </p:custDataLst>
          </p:nvPr>
        </p:nvSpPr>
        <p:spPr bwMode="auto">
          <a:xfrm>
            <a:off x="582613" y="1504950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67" name="Rectangle 366"/>
          <p:cNvSpPr/>
          <p:nvPr>
            <p:custDataLst>
              <p:tags r:id="rId54"/>
            </p:custDataLst>
          </p:nvPr>
        </p:nvSpPr>
        <p:spPr bwMode="auto">
          <a:xfrm>
            <a:off x="582613" y="1776413"/>
            <a:ext cx="165100" cy="165100"/>
          </a:xfrm>
          <a:prstGeom prst="rect">
            <a:avLst/>
          </a:prstGeom>
          <a:solidFill>
            <a:srgbClr val="E65369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69" name="Rectangle 368"/>
          <p:cNvSpPr/>
          <p:nvPr>
            <p:custDataLst>
              <p:tags r:id="rId55"/>
            </p:custDataLst>
          </p:nvPr>
        </p:nvSpPr>
        <p:spPr bwMode="auto">
          <a:xfrm>
            <a:off x="1778000" y="1504950"/>
            <a:ext cx="165100" cy="165100"/>
          </a:xfrm>
          <a:prstGeom prst="rect">
            <a:avLst/>
          </a:prstGeom>
          <a:solidFill>
            <a:srgbClr val="FCCBD3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68" name="Rectangle 367"/>
          <p:cNvSpPr/>
          <p:nvPr>
            <p:custDataLst>
              <p:tags r:id="rId56"/>
            </p:custDataLst>
          </p:nvPr>
        </p:nvSpPr>
        <p:spPr bwMode="auto">
          <a:xfrm>
            <a:off x="582613" y="2047875"/>
            <a:ext cx="165100" cy="165100"/>
          </a:xfrm>
          <a:prstGeom prst="rect">
            <a:avLst/>
          </a:prstGeom>
          <a:solidFill>
            <a:srgbClr val="F793A7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73" name="Rectangle 372"/>
          <p:cNvSpPr/>
          <p:nvPr>
            <p:custDataLst>
              <p:tags r:id="rId57"/>
            </p:custDataLst>
          </p:nvPr>
        </p:nvSpPr>
        <p:spPr bwMode="auto">
          <a:xfrm>
            <a:off x="2892425" y="1776413"/>
            <a:ext cx="165100" cy="165100"/>
          </a:xfrm>
          <a:prstGeom prst="rect">
            <a:avLst/>
          </a:prstGeom>
          <a:solidFill>
            <a:srgbClr val="959595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72" name="Rectangle 371"/>
          <p:cNvSpPr/>
          <p:nvPr>
            <p:custDataLst>
              <p:tags r:id="rId58"/>
            </p:custDataLst>
          </p:nvPr>
        </p:nvSpPr>
        <p:spPr bwMode="auto">
          <a:xfrm>
            <a:off x="2892425" y="1504950"/>
            <a:ext cx="165100" cy="165100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70" name="Rectangle 369"/>
          <p:cNvSpPr/>
          <p:nvPr>
            <p:custDataLst>
              <p:tags r:id="rId59"/>
            </p:custDataLst>
          </p:nvPr>
        </p:nvSpPr>
        <p:spPr bwMode="auto">
          <a:xfrm>
            <a:off x="1778000" y="1776413"/>
            <a:ext cx="165100" cy="165100"/>
          </a:xfrm>
          <a:prstGeom prst="rect">
            <a:avLst/>
          </a:prstGeom>
          <a:solidFill>
            <a:srgbClr val="F06C1E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>
            <p:custDataLst>
              <p:tags r:id="rId60"/>
            </p:custDataLst>
          </p:nvPr>
        </p:nvSpPr>
        <p:spPr bwMode="auto">
          <a:xfrm>
            <a:off x="1778000" y="2047875"/>
            <a:ext cx="165100" cy="165100"/>
          </a:xfrm>
          <a:prstGeom prst="rect">
            <a:avLst/>
          </a:prstGeom>
          <a:solidFill>
            <a:srgbClr val="FFBB77"/>
          </a:solidFill>
          <a:ln w="9525">
            <a:solidFill>
              <a:srgbClr val="FFFFF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Text Placeholder 38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044700" y="2046288"/>
            <a:ext cx="6445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972DA0C8-B7B9-4E05-8D27-124481684967}" type="datetime'D''''''''a''''''''''''''''''t''''a'' ''&amp;'''''' ''''''I''''T'''">
              <a: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lvl="1" indent="0">
                <a:spcBef>
                  <a:spcPct val="0"/>
                </a:spcBef>
                <a:buNone/>
              </a:pPr>
              <a:t>Data &amp; IT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4" name="Text Placeholder 115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49313" y="2046288"/>
            <a:ext cx="3635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C8AC7C9C-4FB4-40B7-BBC1-0695DEA9DE13}" type="datetime'''''''''''''''''''''''''''M''R''''M'''''''''''''''''''''">
              <a:rPr lang="en-US">
                <a:solidFill>
                  <a:schemeClr val="tx1"/>
                </a:solidFill>
              </a:rPr>
              <a:pPr/>
              <a:t>MRM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9" name="Text Placeholder 120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159125" y="1774825"/>
            <a:ext cx="261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22C93A97-8C50-48B3-B479-BC65A6C7906C}" type="datetime'''''''''''''''''I''H''''''''''''C'''''''''''''''">
              <a:rPr lang="en-US">
                <a:solidFill>
                  <a:schemeClr val="tx1"/>
                </a:solidFill>
              </a:rPr>
              <a:pPr/>
              <a:t>IHC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8" name="Text Placeholder 119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159125" y="1503363"/>
            <a:ext cx="4302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0E025E8E-F448-4D71-B4B4-C0BD86A008A7}" type="datetime'''''''C''''CA''R'''''''''''''''''''''''">
              <a:rPr lang="en-US">
                <a:solidFill>
                  <a:schemeClr val="tx1"/>
                </a:solidFill>
              </a:rPr>
              <a:pPr/>
              <a:t>CCAR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5" name="Text Placeholder 116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044700" y="1503363"/>
            <a:ext cx="6175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6E444B13-8A0A-46C2-9DE4-C83BF013976C}" type="datetime'''''''''''''''''''''''''O''''p''s'''''' R''is''k'''''''">
              <a:rPr lang="en-US">
                <a:solidFill>
                  <a:schemeClr val="tx1"/>
                </a:solidFill>
              </a:rPr>
              <a:pPr/>
              <a:t>Ops Risk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6" name="Text Placeholder 117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044700" y="1774825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CED8B75B-8CE7-4029-9501-B7B6FE28B08C}" type="datetime'''''''''''F''i''''''''''''''''''''n''''''''''''''''anc''''''e'">
              <a:rPr lang="en-US">
                <a:solidFill>
                  <a:schemeClr val="tx1"/>
                </a:solidFill>
              </a:rPr>
              <a:pPr/>
              <a:t>Finance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3" name="Text Placeholder 114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49313" y="1774825"/>
            <a:ext cx="7254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5465FC62-2B9F-420A-A70B-61FBCCA38F8D}" type="datetime'Mo''''''''''''d''''''e''''''''''''''l Dev'">
              <a:rPr lang="en-US">
                <a:solidFill>
                  <a:schemeClr val="tx1"/>
                </a:solidFill>
              </a:rPr>
              <a:pPr/>
              <a:t>Model Dev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2" name="Text Placeholder 113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49313" y="1503363"/>
            <a:ext cx="295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168A4B0-F3C5-4648-AA1D-E11BAAE85236}" type="datetime'''''''''''''''''''''''R''''''''''''''''''''''i''s''''k'">
              <a:rPr lang="en-US">
                <a:solidFill>
                  <a:schemeClr val="tx1"/>
                </a:solidFill>
              </a:rPr>
              <a:pPr/>
              <a:t>Risk</a:t>
            </a:fld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57" name="Straight Connector 456"/>
          <p:cNvCxnSpPr/>
          <p:nvPr/>
        </p:nvCxnSpPr>
        <p:spPr bwMode="auto">
          <a:xfrm flipV="1">
            <a:off x="2538041" y="3486909"/>
            <a:ext cx="6748002" cy="1330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ificant new hiring / </a:t>
            </a:r>
            <a:r>
              <a:rPr lang="en-US" dirty="0" smtClean="0"/>
              <a:t>reallocation is </a:t>
            </a:r>
            <a:r>
              <a:rPr lang="en-US" dirty="0"/>
              <a:t>required across Model Dev, MRM, Finance and </a:t>
            </a:r>
            <a:r>
              <a:rPr lang="en-US" dirty="0" err="1" smtClean="0"/>
              <a:t>CCAR</a:t>
            </a:r>
            <a:r>
              <a:rPr lang="en-US" dirty="0" smtClean="0"/>
              <a:t> </a:t>
            </a:r>
            <a:r>
              <a:rPr lang="en-US" dirty="0" err="1" smtClean="0"/>
              <a:t>workstreams</a:t>
            </a:r>
            <a:r>
              <a:rPr lang="en-US" dirty="0" smtClean="0"/>
              <a:t> for internal FTEs</a:t>
            </a:r>
            <a:endParaRPr lang="en-US" dirty="0"/>
          </a:p>
        </p:txBody>
      </p:sp>
      <p:sp>
        <p:nvSpPr>
          <p:cNvPr id="114" name="Rectangle 42"/>
          <p:cNvSpPr txBox="1">
            <a:spLocks/>
          </p:cNvSpPr>
          <p:nvPr/>
        </p:nvSpPr>
        <p:spPr>
          <a:xfrm>
            <a:off x="282575" y="857350"/>
            <a:ext cx="9491663" cy="514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200" b="1" dirty="0" smtClean="0">
                <a:solidFill>
                  <a:schemeClr val="tx1"/>
                </a:solidFill>
              </a:rPr>
              <a:t>Cumulative additional internal resources needed by </a:t>
            </a:r>
            <a:r>
              <a:rPr lang="en-US" sz="1200" b="1" dirty="0" err="1" smtClean="0">
                <a:solidFill>
                  <a:schemeClr val="tx1"/>
                </a:solidFill>
              </a:rPr>
              <a:t>workstream</a:t>
            </a:r>
            <a:endParaRPr lang="en-US" sz="1200" b="1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Internal FTE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18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827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8" y="5480507"/>
            <a:ext cx="10301476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CART Dashboard by Role (1/4)</a:t>
            </a:r>
            <a:endParaRPr lang="en-US" dirty="0"/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/>
          </p:nvPr>
        </p:nvGraphicFramePr>
        <p:xfrm>
          <a:off x="344558" y="801888"/>
          <a:ext cx="9528310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170046"/>
                <a:gridCol w="1170046"/>
                <a:gridCol w="1170046"/>
                <a:gridCol w="1184864"/>
                <a:gridCol w="1208327"/>
                <a:gridCol w="1220059"/>
                <a:gridCol w="1173133"/>
                <a:gridCol w="1231789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Rol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Typ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759503"/>
              </p:ext>
            </p:extLst>
          </p:nvPr>
        </p:nvGraphicFramePr>
        <p:xfrm>
          <a:off x="371059" y="1076740"/>
          <a:ext cx="9535826" cy="5383098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073428"/>
                <a:gridCol w="1258956"/>
                <a:gridCol w="1256527"/>
                <a:gridCol w="1189383"/>
                <a:gridCol w="1189383"/>
                <a:gridCol w="1189383"/>
                <a:gridCol w="1189383"/>
                <a:gridCol w="1189383"/>
              </a:tblGrid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Project Manag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Project Manag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Business</a:t>
                      </a:r>
                      <a:r>
                        <a:rPr lang="en-US" sz="900" b="0" baseline="0" dirty="0" smtClean="0"/>
                        <a:t>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Business</a:t>
                      </a:r>
                      <a:r>
                        <a:rPr lang="en-US" sz="900" b="0" baseline="0" dirty="0" smtClean="0"/>
                        <a:t> Architec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Business Architec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</a:t>
                      </a:r>
                      <a:r>
                        <a:rPr lang="en-US" sz="900" b="0" baseline="0" dirty="0" smtClean="0"/>
                        <a:t> Business </a:t>
                      </a:r>
                      <a:r>
                        <a:rPr lang="en-US" sz="900" b="0" baseline="0" dirty="0" err="1" smtClean="0"/>
                        <a:t>SM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Business </a:t>
                      </a:r>
                      <a:r>
                        <a:rPr lang="en-US" sz="900" b="0" dirty="0" err="1" smtClean="0"/>
                        <a:t>SM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Financial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Financial Analyst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7978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485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8" y="5480507"/>
            <a:ext cx="10301476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ART Dashboard by Role </a:t>
            </a:r>
            <a:r>
              <a:rPr lang="en-US" dirty="0" smtClean="0"/>
              <a:t>(2/4</a:t>
            </a:r>
            <a:r>
              <a:rPr lang="en-US" dirty="0"/>
              <a:t>)</a:t>
            </a:r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/>
          </p:nvPr>
        </p:nvGraphicFramePr>
        <p:xfrm>
          <a:off x="344558" y="801888"/>
          <a:ext cx="9528310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170046"/>
                <a:gridCol w="1170046"/>
                <a:gridCol w="1170046"/>
                <a:gridCol w="1184864"/>
                <a:gridCol w="1208327"/>
                <a:gridCol w="1220059"/>
                <a:gridCol w="1173133"/>
                <a:gridCol w="1231789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Rol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Typ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037667"/>
              </p:ext>
            </p:extLst>
          </p:nvPr>
        </p:nvGraphicFramePr>
        <p:xfrm>
          <a:off x="371059" y="1076740"/>
          <a:ext cx="9535826" cy="5383098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073428"/>
                <a:gridCol w="1258956"/>
                <a:gridCol w="1256527"/>
                <a:gridCol w="1189383"/>
                <a:gridCol w="1189383"/>
                <a:gridCol w="1189383"/>
                <a:gridCol w="1189383"/>
                <a:gridCol w="1189383"/>
              </a:tblGrid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inancial Specialist / </a:t>
                      </a:r>
                      <a:r>
                        <a:rPr lang="en-US" sz="900" b="0" dirty="0" err="1" smtClean="0"/>
                        <a:t>SM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Risk Manag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Risk Manag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Risk Directo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Manager Model</a:t>
                      </a:r>
                      <a:r>
                        <a:rPr lang="en-US" sz="900" b="0" baseline="0" dirty="0" smtClean="0"/>
                        <a:t> Dev/Risk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Director Model Dev/Risk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Officer</a:t>
                      </a:r>
                      <a:r>
                        <a:rPr lang="en-US" sz="900" b="0" baseline="0" dirty="0" smtClean="0"/>
                        <a:t> Model Dev/Risk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Legal Speciali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b="0" dirty="0" smtClean="0"/>
                        <a:t>Tax Specialist</a:t>
                      </a:r>
                      <a:endParaRPr lang="en-US" sz="10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1715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587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7" y="5480507"/>
            <a:ext cx="10306937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ART Dashboard by Role </a:t>
            </a:r>
            <a:r>
              <a:rPr lang="en-US" dirty="0" smtClean="0"/>
              <a:t>(3/4</a:t>
            </a:r>
            <a:r>
              <a:rPr lang="en-US" dirty="0"/>
              <a:t>)</a:t>
            </a:r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/>
          </p:nvPr>
        </p:nvGraphicFramePr>
        <p:xfrm>
          <a:off x="344558" y="801888"/>
          <a:ext cx="9528310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170046"/>
                <a:gridCol w="1170046"/>
                <a:gridCol w="1170046"/>
                <a:gridCol w="1184864"/>
                <a:gridCol w="1208327"/>
                <a:gridCol w="1220059"/>
                <a:gridCol w="1173133"/>
                <a:gridCol w="1231789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Rol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Typ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609307"/>
              </p:ext>
            </p:extLst>
          </p:nvPr>
        </p:nvGraphicFramePr>
        <p:xfrm>
          <a:off x="371059" y="1076740"/>
          <a:ext cx="9535826" cy="5383098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073428"/>
                <a:gridCol w="1258956"/>
                <a:gridCol w="1256527"/>
                <a:gridCol w="1189383"/>
                <a:gridCol w="1189383"/>
                <a:gridCol w="1189383"/>
                <a:gridCol w="1189383"/>
                <a:gridCol w="1189383"/>
              </a:tblGrid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chnical Senior Managemen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Technical PM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/>
                        <a:t>Technical PM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Senior Data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Data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Development Manag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Developer / Programm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chnical Business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chnical Data Analyst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FTE</a:t>
                      </a:r>
                      <a:endParaRPr lang="en-US" sz="100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21657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Rectangle 4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570150" y="1"/>
          <a:ext cx="16197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689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70150" y="1"/>
                        <a:ext cx="16197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48" name="Rectangle 4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15" name="TextBox 11"/>
          <p:cNvSpPr txBox="1"/>
          <p:nvPr>
            <p:custDataLst>
              <p:tags r:id="rId4"/>
            </p:custDataLst>
          </p:nvPr>
        </p:nvSpPr>
        <p:spPr>
          <a:xfrm>
            <a:off x="38" y="5480507"/>
            <a:ext cx="10301476" cy="152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106503" name="Rectangle 10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322729" y="119676"/>
            <a:ext cx="9675158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CART Dashboard by Role </a:t>
            </a:r>
            <a:r>
              <a:rPr lang="en-US" dirty="0" smtClean="0"/>
              <a:t>(4/4</a:t>
            </a:r>
            <a:r>
              <a:rPr lang="en-US" dirty="0"/>
              <a:t>)</a:t>
            </a:r>
          </a:p>
        </p:txBody>
      </p:sp>
      <p:sp>
        <p:nvSpPr>
          <p:cNvPr id="106558" name="McK Measure" hidden="1"/>
          <p:cNvSpPr txBox="1">
            <a:spLocks noChangeArrowheads="1"/>
          </p:cNvSpPr>
          <p:nvPr/>
        </p:nvSpPr>
        <p:spPr bwMode="gray">
          <a:xfrm>
            <a:off x="696489" y="542616"/>
            <a:ext cx="8793596" cy="2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632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6559" name="McK Footnote" hidden="1"/>
          <p:cNvSpPr txBox="1">
            <a:spLocks noChangeArrowheads="1"/>
          </p:cNvSpPr>
          <p:nvPr/>
        </p:nvSpPr>
        <p:spPr bwMode="gray">
          <a:xfrm>
            <a:off x="699730" y="6407575"/>
            <a:ext cx="8331968" cy="422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895350"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4988" algn="r"/>
              </a:tabLs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24" dirty="0">
                <a:solidFill>
                  <a:srgbClr val="000000"/>
                </a:solidFill>
              </a:rPr>
              <a:t>	*	Footnote</a:t>
            </a:r>
          </a:p>
          <a:p>
            <a:pPr eaLnBrk="1" hangingPunct="1">
              <a:spcBef>
                <a:spcPct val="20000"/>
              </a:spcBef>
            </a:pPr>
            <a:r>
              <a:rPr lang="en-US" sz="1224" dirty="0">
                <a:solidFill>
                  <a:srgbClr val="000000"/>
                </a:solidFill>
              </a:rPr>
              <a:t>Source:		Source</a:t>
            </a:r>
          </a:p>
        </p:txBody>
      </p:sp>
      <p:sp>
        <p:nvSpPr>
          <p:cNvPr id="106560" name="Working Draft" hidden="1"/>
          <p:cNvSpPr txBox="1">
            <a:spLocks noChangeArrowheads="1"/>
          </p:cNvSpPr>
          <p:nvPr/>
        </p:nvSpPr>
        <p:spPr bwMode="gray">
          <a:xfrm rot="5400000">
            <a:off x="8718257" y="3935711"/>
            <a:ext cx="1846551" cy="96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15988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612" dirty="0">
                <a:solidFill>
                  <a:srgbClr val="000000"/>
                </a:solidFill>
              </a:rPr>
              <a:t>Working Draft - Last Modified 8/24/2007 2:36:55 PM</a:t>
            </a:r>
          </a:p>
        </p:txBody>
      </p:sp>
      <p:sp>
        <p:nvSpPr>
          <p:cNvPr id="106604" name="Rectangle 11" hidden="1"/>
          <p:cNvSpPr>
            <a:spLocks noChangeArrowheads="1"/>
          </p:cNvSpPr>
          <p:nvPr/>
        </p:nvSpPr>
        <p:spPr bwMode="gray">
          <a:xfrm>
            <a:off x="5717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912" tIns="0" rIns="25912" bIns="0" anchor="ctr"/>
          <a:lstStyle>
            <a:lvl1pPr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931725" indent="-37474525" defTabSz="933450"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1632" dirty="0">
                <a:solidFill>
                  <a:srgbClr val="000000"/>
                </a:solidFill>
              </a:rPr>
              <a:t>-50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 bwMode="auto">
          <a:xfrm>
            <a:off x="135172" y="619290"/>
            <a:ext cx="10057487" cy="630936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/>
          </p:nvPr>
        </p:nvGraphicFramePr>
        <p:xfrm>
          <a:off x="344558" y="801888"/>
          <a:ext cx="9528310" cy="243840"/>
        </p:xfrm>
        <a:graphic>
          <a:graphicData uri="http://schemas.openxmlformats.org/drawingml/2006/table">
            <a:tbl>
              <a:tblPr bandRow="1">
                <a:tableStyleId>{72833802-FEF1-4C79-8D5D-14CF1EAF98D9}</a:tableStyleId>
              </a:tblPr>
              <a:tblGrid>
                <a:gridCol w="1170046"/>
                <a:gridCol w="1170046"/>
                <a:gridCol w="1170046"/>
                <a:gridCol w="1184864"/>
                <a:gridCol w="1208327"/>
                <a:gridCol w="1220059"/>
                <a:gridCol w="1173133"/>
                <a:gridCol w="1231789"/>
              </a:tblGrid>
              <a:tr h="21330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Rol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Type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urrent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3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6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90 Days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Year End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Peak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882615"/>
              </p:ext>
            </p:extLst>
          </p:nvPr>
        </p:nvGraphicFramePr>
        <p:xfrm>
          <a:off x="371059" y="1076740"/>
          <a:ext cx="9535826" cy="3189984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073428"/>
                <a:gridCol w="1258956"/>
                <a:gridCol w="1256527"/>
                <a:gridCol w="1189383"/>
                <a:gridCol w="1189383"/>
                <a:gridCol w="1189383"/>
                <a:gridCol w="1189383"/>
                <a:gridCol w="1189383"/>
              </a:tblGrid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chnical Analys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st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Architect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Technical Writ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 rowSpan="3"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Other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E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/>
                        <a:t>FTC</a:t>
                      </a:r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</a:tr>
              <a:tr h="199374">
                <a:tc v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Sub-Total</a:t>
                      </a:r>
                      <a:endParaRPr lang="en-US" sz="1000" b="1" dirty="0"/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374">
                <a:tc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0117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2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Risk Transformation resource plan</a:t>
            </a: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>
            <p:extLst/>
          </p:nvPr>
        </p:nvGraphicFramePr>
        <p:xfrm>
          <a:off x="121851" y="907372"/>
          <a:ext cx="10048643" cy="25726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25" name="Worksheet" r:id="rId6" imgW="11064505" imgH="2827079" progId="Excel.Sheet.12">
                  <p:embed/>
                </p:oleObj>
              </mc:Choice>
              <mc:Fallback>
                <p:oleObj name="Worksheet" r:id="rId6" imgW="11064505" imgH="282707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851" y="907372"/>
                        <a:ext cx="10048643" cy="25726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003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24&quot;&gt;&lt;elem m_fUsage=&quot;2.62900000000000000000E+000&quot;&gt;&lt;m_msothmcolidx val=&quot;0&quot;/&gt;&lt;m_rgb r=&quot;95&quot; g=&quot;95&quot; b=&quot;95&quot;/&gt;&lt;m_ppcolschidx tagver0=&quot;23004&quot; tagname0=&quot;m_ppcolschidxUNRECOGNIZED&quot; val=&quot;0&quot;/&gt;&lt;m_nBrightness val=&quot;0&quot;/&gt;&lt;/elem&gt;&lt;elem m_fUsage=&quot;2.49553817768489730000E+000&quot;&gt;&lt;m_msothmcolidx val=&quot;0&quot;/&gt;&lt;m_rgb r=&quot;f5&quot; g=&quot;78&quot; b=&quot;0&quot;/&gt;&lt;m_ppcolschidx tagver0=&quot;23004&quot; tagname0=&quot;m_ppcolschidxUNRECOGNIZED&quot; val=&quot;0&quot;/&gt;&lt;m_nBrightness val=&quot;0&quot;/&gt;&lt;/elem&gt;&lt;elem m_fUsage=&quot;2.44402878607142430000E+000&quot;&gt;&lt;m_msothmcolidx val=&quot;0&quot;/&gt;&lt;m_rgb r=&quot;e6&quot; g=&quot;53&quot; b=&quot;69&quot;/&gt;&lt;m_ppcolschidx tagver0=&quot;23004&quot; tagname0=&quot;m_ppcolschidxUNRECOGNIZED&quot; val=&quot;0&quot;/&gt;&lt;m_nBrightness val=&quot;0&quot;/&gt;&lt;/elem&gt;&lt;elem m_fUsage=&quot;1.55472938119652530000E+000&quot;&gt;&lt;m_msothmcolidx val=&quot;0&quot;/&gt;&lt;m_rgb r=&quot;ff&quot; g=&quot;bb&quot; b=&quot;77&quot;/&gt;&lt;m_ppcolschidx tagver0=&quot;23004&quot; tagname0=&quot;m_ppcolschidxUNRECOGNIZED&quot; val=&quot;0&quot;/&gt;&lt;m_nBrightness val=&quot;0&quot;/&gt;&lt;/elem&gt;&lt;elem m_fUsage=&quot;2.85179807064298410000E-001&quot;&gt;&lt;m_msothmcolidx val=&quot;0&quot;/&gt;&lt;m_rgb r=&quot;ff&quot; g=&quot;cc&quot; b=&quot;99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5&quot; g=&quot;ba&quot; b=&quot;c2&quot;/&gt;&lt;m_ppcolschidx tagver0=&quot;23004&quot; tagname0=&quot;m_ppcolschidxUNRECOGNIZED&quot; val=&quot;0&quot;/&gt;&lt;m_nBrightness val=&quot;0&quot;/&gt;&lt;/elem&gt;&lt;elem m_fUsage=&quot;6.46108188922667890000E-002&quot;&gt;&lt;m_msothmcolidx val=&quot;0&quot;/&gt;&lt;m_rgb r=&quot;ff&quot; g=&quot;c1&quot; b=&quot;c1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ff&quot; g=&quot;c6&quot; b=&quot;c6&quot;/&gt;&lt;m_ppcolschidx tagver0=&quot;23004&quot; tagname0=&quot;m_ppcolschidxUNRECOGNIZED&quot; val=&quot;0&quot;/&gt;&lt;m_nBrightness val=&quot;0&quot;/&gt;&lt;/elem&gt;&lt;elem m_fUsage=&quot;5.23347633027360990000E-002&quot;&gt;&lt;m_msothmcolidx val=&quot;0&quot;/&gt;&lt;m_rgb r=&quot;ff&quot; g=&quot;bd&quot; b=&quot;7b&quot;/&gt;&lt;m_ppcolschidx tagver0=&quot;23004&quot; tagname0=&quot;m_ppcolschidxUNRECOGNIZED&quot; val=&quot;0&quot;/&gt;&lt;m_nBrightness val=&quot;0&quot;/&gt;&lt;/elem&gt;&lt;elem m_fUsage=&quot;4.23911582752162440000E-002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3.81520424476946220000E-002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f4&quot; g=&quot;b7&quot; b=&quot;c0&quot;/&gt;&lt;m_ppcolschidx tagver0=&quot;23004&quot; tagname0=&quot;m_ppcolschidxUNRECOGNIZED&quot; val=&quot;0&quot;/&gt;&lt;m_nBrightness val=&quot;0&quot;/&gt;&lt;/elem&gt;&lt;elem m_fUsage=&quot;2.78128389443693810000E-002&quot;&gt;&lt;m_msothmcolidx val=&quot;0&quot;/&gt;&lt;m_rgb r=&quot;ef&quot; g=&quot;8f&quot; b=&quot;9e&quot;/&gt;&lt;m_ppcolschidx tagver0=&quot;23004&quot; tagname0=&quot;m_ppcolschidxUNRECOGNIZED&quot; val=&quot;0&quot;/&gt;&lt;m_nBrightness val=&quot;0&quot;/&gt;&lt;/elem&gt;&lt;elem m_fUsage=&quot;2.77686752650313510000E-002&quot;&gt;&lt;m_msothmcolidx val=&quot;0&quot;/&gt;&lt;m_rgb r=&quot;ff&quot; g=&quot;6f&quot; b=&quot;6f&quot;/&gt;&lt;m_ppcolschidx tagver0=&quot;23004&quot; tagname0=&quot;m_ppcolschidxUNRECOGNIZED&quot; val=&quot;0&quot;/&gt;&lt;m_nBrightness val=&quot;0&quot;/&gt;&lt;/elem&gt;&lt;elem m_fUsage=&quot;1.96790588498048680000E-002&quot;&gt;&lt;m_msothmcolidx val=&quot;0&quot;/&gt;&lt;m_rgb r=&quot;f0&quot; g=&quot;c1&quot; b=&quot;c1&quot;/&gt;&lt;m_ppcolschidx tagver0=&quot;23004&quot; tagname0=&quot;m_ppcolschidxUNRECOGNIZED&quot; val=&quot;0&quot;/&gt;&lt;m_nBrightness val=&quot;0&quot;/&gt;&lt;/elem&gt;&lt;elem m_fUsage=&quot;1.82480036314007500000E-002&quot;&gt;&lt;m_msothmcolidx val=&quot;0&quot;/&gt;&lt;m_rgb r=&quot;e4&quot; g=&quot;e4&quot; b=&quot;e4&quot;/&gt;&lt;m_ppcolschidx tagver0=&quot;23004&quot; tagname0=&quot;m_ppcolschidxUNRECOGNIZED&quot; val=&quot;0&quot;/&gt;&lt;m_nBrightness val=&quot;0&quot;/&gt;&lt;/elem&gt;&lt;elem m_fUsage=&quot;1.64232032682606750000E-002&quot;&gt;&lt;m_msothmcolidx val=&quot;0&quot;/&gt;&lt;m_rgb r=&quot;b3&quot; g=&quot;b3&quot; b=&quot;b3&quot;/&gt;&lt;m_ppcolschidx tagver0=&quot;23004&quot; tagname0=&quot;m_ppcolschidxUNRECOGNIZED&quot; val=&quot;0&quot;/&gt;&lt;m_nBrightness val=&quot;0&quot;/&gt;&lt;/elem&gt;&lt;elem m_fUsage=&quot;1.48100247295671320000E-002&quot;&gt;&lt;m_msothmcolidx val=&quot;0&quot;/&gt;&lt;m_rgb r=&quot;f4&quot; g=&quot;95&quot; b=&quot;5b&quot;/&gt;&lt;m_ppcolschidx tagver0=&quot;23004&quot; tagname0=&quot;m_ppcolschidxUNRECOGNIZED&quot; val=&quot;0&quot;/&gt;&lt;m_nBrightness val=&quot;0&quot;/&gt;&lt;/elem&gt;&lt;elem m_fUsage=&quot;1.38556793506131090000E-002&quot;&gt;&lt;m_msothmcolidx val=&quot;0&quot;/&gt;&lt;m_rgb r=&quot;a8&quot; g=&quot;a8&quot; b=&quot;a8&quot;/&gt;&lt;m_ppcolschidx tagver0=&quot;23004&quot; tagname0=&quot;m_ppcolschidxUNRECOGNIZED&quot; val=&quot;0&quot;/&gt;&lt;m_nBrightness val=&quot;0&quot;/&gt;&lt;/elem&gt;&lt;elem m_fUsage=&quot;1.33224366510294400000E-002&quot;&gt;&lt;m_msothmcolidx val=&quot;0&quot;/&gt;&lt;m_rgb r=&quot;f0&quot; g=&quot;6c&quot; b=&quot;1e&quot;/&gt;&lt;m_ppcolschidx tagver0=&quot;23004&quot; tagname0=&quot;m_ppcolschidxUNRECOGNIZED&quot; val=&quot;0&quot;/&gt;&lt;m_nBrightness val=&quot;0&quot;/&gt;&lt;/elem&gt;&lt;elem m_fUsage=&quot;1.04246533805455300000E-002&quot;&gt;&lt;m_msothmcolidx val=&quot;0&quot;/&gt;&lt;m_rgb r=&quot;f0&quot; g=&quot;80&quot; b=&quot;80&quot;/&gt;&lt;m_ppcolschidx tagver0=&quot;23004&quot; tagname0=&quot;m_ppcolschidxUNRECOGNIZED&quot; val=&quot;0&quot;/&gt;&lt;m_nBrightness val=&quot;0&quot;/&gt;&lt;/elem&gt;&lt;elem m_fUsage=&quot;7.11013425617389610000E-003&quot;&gt;&lt;m_msothmcolidx val=&quot;0&quot;/&gt;&lt;m_rgb r=&quot;56&quot; g=&quot;56&quot; b=&quot;56&quot;/&gt;&lt;m_ppcolschidx tagver0=&quot;23004&quot; tagname0=&quot;m_ppcolschidxUNRECOGNIZED&quot; val=&quot;0&quot;/&gt;&lt;m_nBrightness val=&quot;0&quot;/&gt;&lt;/elem&gt;&lt;elem m_fUsage=&quot;6.41076157312248180000E-003&quot;&gt;&lt;m_msothmcolidx val=&quot;0&quot;/&gt;&lt;m_rgb r=&quot;a3&quot; g=&quot;a3&quot; b=&quot;a3&quot;/&gt;&lt;m_ppcolschidx tagver0=&quot;23004&quot; tagname0=&quot;m_ppcolschidxUNRECOGNIZED&quot; val=&quot;0&quot;/&gt;&lt;m_nBrightness val=&quot;0&quot;/&gt;&lt;/elem&gt;&lt;elem m_fUsage=&quot;5.96349962208971020000E-003&quot;&gt;&lt;m_msothmcolidx val=&quot;0&quot;/&gt;&lt;m_rgb r=&quot;ff&quot; g=&quot;32&quot; b=&quot;3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Jimmy L Wu\Documents\Studies\Santander\PMO documents\Resource estimates\20150727 Submission\20150730 Resource plan review pack v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COZCcCrE.GNAl5cFKY3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YyP_QOEyfa3QKdXytP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9HwaXSSEmWqNx.jjae7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wAo6M.L0GsuHjZkdE4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QLhYGAAUaSJ0W9uEbm9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eZHQEIFUW6E4Wk0dt8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ACKNXmDkKl3bS57QQj6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oMt3l_eUGpG1gIIc7N0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GqtAHZW0eJZS7nPK63a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8lk3uHEm3xcg.FGoDG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Hh1MyrzUei4DhykMWlF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YbKSzmOkK1pv82pQYNf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J9gcLwMUKv__2nbYk50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VKmXEINEii8WUjeC29H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yJkum6lkaJ6vun5c9uq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LcS4d00k.LUJq2KRuH4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7i9uUDP0GTY4tq0OsRs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KLdScywkmH_itREuIY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VhjlcvbEueoe1ffwKbD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eW2_0TzEiLY9VcXjlUG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dgFB2Lkmclzj8x2Cn8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vIQqz7mU2m8uj9zDFmy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I7XJxq8kSEfz4CXXa0w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riCTUYdk6TcL.mU2elu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6r.9ug0y_cHQ2IwSeR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.OWyx2HUKZd_D8OmED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AD5kbYXkCGBpZ4GehB.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FFImjxj0.oP7I34sOzM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ZaoYVzRkKKlGEDiATlP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JZOB8JWkK16CRnsBgIa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KtS1SqUuu8j7pnN7c1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yMndFYqEi8wwjwKJco.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41xTwbUWeNplLIL_Q7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wFlRFP0uCDpqBKlGbA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COZCcCrE.GNAl5cFKY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YyP_QOEyfa3QKdXytP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xDo_v8skK4YKk7YXYRk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iMrTTzzUmFIxgJ5TprN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SI..E2EeWB_hBXaj1v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13cFWEf0WPuRVO9ocBL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1YdpUr0a1.AsT2MrTf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YaIjjcAU6cOXu.plZvO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duWXzezkyt9dZAn4G3J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VBeGA8gkSvZYab_2NwK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VqtITa0mLi6A_um_T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EppYrCk2m1QWpqP_mi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gsDhRlE.hu3nAoK5JC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XULOVakEKfVmh_1H_5y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CWgY4Bu0.3pagbEVA69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g99sJqm0OvLTYJ65t4e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93nE45h0O4nuG7.4AGw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YP5KaxwUCdZupgXX8zy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gi7VqxqEypA5aw7WHpA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PMQt590upOJSSZr7Y7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GXCud7NUyuf9OcpFPB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cKrhCF6UitYy7K64ubf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q25bS20ekEf8areyb.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Yedyes7UKHLGH7_VtZP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mn8BAoO0Gr_ZAB2dn2P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jERTWyUyYUPoBML_8s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BAR7AZ6U29jc0z2BC_h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rFl8OykWKp7v7R7c7N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xsLccj.0KH07iUh.1XE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2e35gA30CE0nMYIeXsV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6vEkUFl0WiExyVvhiK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Jvm74uEymDXA7uojoA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XCbWORtEKms.Hk0MixE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8AJ5VD90SWl7Rh2mEuR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VjxUbQYES.Fs087LdZ2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Qcv1trZESBeVgynQTmI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V7pI1FzUePfGLekETDQ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GpKzNlEODthzZo32an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.38iJ22E.V23Kj_qWgg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eW2_0TzEiLY9VcXjlUG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uFY__Bk0K.MxRHjOOG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rILgwR.EaLYInRMWWBX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855buYEUmZ9KE3yo4JU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hrqkTDAEm01hct2RXwB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neJZIFKU2M_g_AYpNfM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QcF2cBaEiQ.Epdbh8BZ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q2n_u3iUuj5f8vdObHE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rCmzJMUOuJF0DdvSHp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SIvyneEkGSGKFMxd3_c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bvBOsmzkyFe5L.r5vfR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nNzINOI0OtySFQA4Wc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CejTnBw02fb7ovWykQB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3xB7HVJUO6hGJG8aS5l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lc8nSt_kOitva2gv3gQ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oVYUCvhUCX.GZSDYMOf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lVQmGknUSPScQePaeQ2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wdewQwEekxBMtw27eU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7u2sTMAUCrVONfIKfCX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oEkK9FsU2X3WHa318b5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TaQY9BKU2jEzEDghF9c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8DpJOZBEmt9lVPe_s7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nVWEGX0Uu_tOZhP3pB8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TxcyYoWkeVUP3mYFVrj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YcKmDn4EOoqoJSQtumj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GwQ7gYzUSvZHA6bN1R.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rXhiJ8cUyL2KolguafR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RsJ2SkFRU21HzBeJ3C1r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xHO2ZOkidhEB4YLUaf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Santander_CF_HCS25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0000"/>
      </a:accent1>
      <a:accent2>
        <a:srgbClr val="FAAF25"/>
      </a:accent2>
      <a:accent3>
        <a:srgbClr val="000000"/>
      </a:accent3>
      <a:accent4>
        <a:srgbClr val="969696"/>
      </a:accent4>
      <a:accent5>
        <a:srgbClr val="770000"/>
      </a:accent5>
      <a:accent6>
        <a:srgbClr val="808080"/>
      </a:accent6>
      <a:hlink>
        <a:srgbClr val="0000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AAF25"/>
        </a:accent2>
        <a:accent3>
          <a:srgbClr val="000000"/>
        </a:accent3>
        <a:accent4>
          <a:srgbClr val="969696"/>
        </a:accent4>
        <a:accent5>
          <a:srgbClr val="770000"/>
        </a:accent5>
        <a:accent6>
          <a:srgbClr val="808080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2258</Words>
  <Application>Microsoft Office PowerPoint</Application>
  <PresentationFormat>35mm Slides</PresentationFormat>
  <Paragraphs>1361</Paragraphs>
  <Slides>1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41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Santander_CF_HCS255</vt:lpstr>
      <vt:lpstr>think-cell Slide</vt:lpstr>
      <vt:lpstr>Chart</vt:lpstr>
      <vt:lpstr>Worksheet</vt:lpstr>
      <vt:lpstr>CART Resource Needs Dashboard</vt:lpstr>
      <vt:lpstr>CART Resource Needs Dashboard-  By Role</vt:lpstr>
      <vt:lpstr>CART program will require an immediate ramp up of internal resources </vt:lpstr>
      <vt:lpstr>Significant new hiring / reallocation is required across Model Dev, MRM, Finance and CCAR workstreams for internal FTEs</vt:lpstr>
      <vt:lpstr>CART Dashboard by Role (1/4)</vt:lpstr>
      <vt:lpstr>CART Dashboard by Role (2/4)</vt:lpstr>
      <vt:lpstr>CART Dashboard by Role (3/4)</vt:lpstr>
      <vt:lpstr>CART Dashboard by Role (4/4)</vt:lpstr>
      <vt:lpstr>Risk Transformation resource plan</vt:lpstr>
      <vt:lpstr>Model Development resource plan</vt:lpstr>
      <vt:lpstr>Model Risk Management resource plan</vt:lpstr>
      <vt:lpstr>Operational Risk resource plan</vt:lpstr>
      <vt:lpstr>Finance Transformation resource plan (1/2)</vt:lpstr>
      <vt:lpstr>Finance Transformation resource plan (2/2)</vt:lpstr>
      <vt:lpstr>Data &amp; IT resource plan</vt:lpstr>
      <vt:lpstr>CCAR resource plan</vt:lpstr>
      <vt:lpstr>IHC resource pla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31T20:2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